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23"/>
  </p:notesMasterIdLst>
  <p:sldIdLst>
    <p:sldId id="1624" r:id="rId3"/>
    <p:sldId id="2382" r:id="rId4"/>
    <p:sldId id="2377" r:id="rId5"/>
    <p:sldId id="2378" r:id="rId6"/>
    <p:sldId id="2389" r:id="rId7"/>
    <p:sldId id="2379" r:id="rId8"/>
    <p:sldId id="2404" r:id="rId9"/>
    <p:sldId id="2437" r:id="rId10"/>
    <p:sldId id="2438" r:id="rId11"/>
    <p:sldId id="2354" r:id="rId12"/>
    <p:sldId id="2381" r:id="rId13"/>
    <p:sldId id="2345" r:id="rId14"/>
    <p:sldId id="2346" r:id="rId15"/>
    <p:sldId id="2365" r:id="rId16"/>
    <p:sldId id="2434" r:id="rId17"/>
    <p:sldId id="2410" r:id="rId18"/>
    <p:sldId id="2411" r:id="rId19"/>
    <p:sldId id="2430" r:id="rId20"/>
    <p:sldId id="2431" r:id="rId21"/>
    <p:sldId id="2432" r:id="rId22"/>
  </p:sldIdLst>
  <p:sldSz cx="12192000" cy="6858000"/>
  <p:notesSz cx="6858000" cy="9144000"/>
  <p:custDataLst>
    <p:tags r:id="rId2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3333CC"/>
    <a:srgbClr val="00FF00"/>
    <a:srgbClr val="D31145"/>
    <a:srgbClr val="FF33CC"/>
    <a:srgbClr val="00B050"/>
    <a:srgbClr val="800000"/>
    <a:srgbClr val="EAEFF7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3878" autoAdjust="0"/>
  </p:normalViewPr>
  <p:slideViewPr>
    <p:cSldViewPr snapToGrid="0">
      <p:cViewPr varScale="1">
        <p:scale>
          <a:sx n="100" d="100"/>
          <a:sy n="100" d="100"/>
        </p:scale>
        <p:origin x="582" y="7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2</c:v>
                </c:pt>
                <c:pt idx="4">
                  <c:v>182</c:v>
                </c:pt>
                <c:pt idx="5">
                  <c:v>171</c:v>
                </c:pt>
                <c:pt idx="6">
                  <c:v>176</c:v>
                </c:pt>
                <c:pt idx="7">
                  <c:v>92</c:v>
                </c:pt>
                <c:pt idx="8">
                  <c:v>103</c:v>
                </c:pt>
                <c:pt idx="9">
                  <c:v>175</c:v>
                </c:pt>
                <c:pt idx="10">
                  <c:v>139</c:v>
                </c:pt>
                <c:pt idx="11">
                  <c:v>138</c:v>
                </c:pt>
                <c:pt idx="12">
                  <c:v>121</c:v>
                </c:pt>
                <c:pt idx="13">
                  <c:v>105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5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3</c:v>
                </c:pt>
                <c:pt idx="71">
                  <c:v>5</c:v>
                </c:pt>
                <c:pt idx="72">
                  <c:v>8</c:v>
                </c:pt>
                <c:pt idx="74">
                  <c:v>5</c:v>
                </c:pt>
                <c:pt idx="75">
                  <c:v>6</c:v>
                </c:pt>
                <c:pt idx="76">
                  <c:v>6</c:v>
                </c:pt>
                <c:pt idx="77">
                  <c:v>4</c:v>
                </c:pt>
                <c:pt idx="78">
                  <c:v>2</c:v>
                </c:pt>
                <c:pt idx="79">
                  <c:v>10</c:v>
                </c:pt>
                <c:pt idx="80">
                  <c:v>5</c:v>
                </c:pt>
                <c:pt idx="81">
                  <c:v>6</c:v>
                </c:pt>
                <c:pt idx="82">
                  <c:v>6</c:v>
                </c:pt>
                <c:pt idx="83">
                  <c:v>5</c:v>
                </c:pt>
                <c:pt idx="84">
                  <c:v>6</c:v>
                </c:pt>
                <c:pt idx="85">
                  <c:v>8</c:v>
                </c:pt>
                <c:pt idx="86">
                  <c:v>14</c:v>
                </c:pt>
                <c:pt idx="87">
                  <c:v>3</c:v>
                </c:pt>
                <c:pt idx="88">
                  <c:v>7</c:v>
                </c:pt>
                <c:pt idx="89">
                  <c:v>11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9</c:v>
                </c:pt>
                <c:pt idx="94">
                  <c:v>3</c:v>
                </c:pt>
                <c:pt idx="95">
                  <c:v>12</c:v>
                </c:pt>
                <c:pt idx="96">
                  <c:v>3</c:v>
                </c:pt>
                <c:pt idx="97">
                  <c:v>10</c:v>
                </c:pt>
                <c:pt idx="98">
                  <c:v>6</c:v>
                </c:pt>
                <c:pt idx="99">
                  <c:v>2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5</c:v>
                </c:pt>
                <c:pt idx="104">
                  <c:v>6</c:v>
                </c:pt>
                <c:pt idx="105">
                  <c:v>9</c:v>
                </c:pt>
                <c:pt idx="106">
                  <c:v>5</c:v>
                </c:pt>
                <c:pt idx="107">
                  <c:v>10</c:v>
                </c:pt>
                <c:pt idx="108">
                  <c:v>7</c:v>
                </c:pt>
                <c:pt idx="109">
                  <c:v>9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6</c:v>
                </c:pt>
                <c:pt idx="114">
                  <c:v>8</c:v>
                </c:pt>
                <c:pt idx="115">
                  <c:v>10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5</c:v>
                </c:pt>
                <c:pt idx="120">
                  <c:v>3</c:v>
                </c:pt>
                <c:pt idx="121">
                  <c:v>4</c:v>
                </c:pt>
                <c:pt idx="122">
                  <c:v>9</c:v>
                </c:pt>
                <c:pt idx="123">
                  <c:v>14</c:v>
                </c:pt>
                <c:pt idx="124">
                  <c:v>9</c:v>
                </c:pt>
                <c:pt idx="125">
                  <c:v>9</c:v>
                </c:pt>
                <c:pt idx="12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89428737600640407</c:v>
                </c:pt>
                <c:pt idx="107">
                  <c:v>1.43949015545049</c:v>
                </c:pt>
                <c:pt idx="108">
                  <c:v>2.0075285883612706</c:v>
                </c:pt>
                <c:pt idx="109">
                  <c:v>2.5905349173461092</c:v>
                </c:pt>
                <c:pt idx="110">
                  <c:v>3.1807674332337905</c:v>
                </c:pt>
                <c:pt idx="111">
                  <c:v>3.8185348944522604</c:v>
                </c:pt>
                <c:pt idx="112">
                  <c:v>4.486541308340569</c:v>
                </c:pt>
                <c:pt idx="113">
                  <c:v>5.163843257871183</c:v>
                </c:pt>
                <c:pt idx="114">
                  <c:v>5.8357611096200648</c:v>
                </c:pt>
                <c:pt idx="115">
                  <c:v>6.4924226291251541</c:v>
                </c:pt>
                <c:pt idx="116">
                  <c:v>7.1274357303268969</c:v>
                </c:pt>
                <c:pt idx="117">
                  <c:v>7.7374730965510379</c:v>
                </c:pt>
                <c:pt idx="118">
                  <c:v>8.3206275638589204</c:v>
                </c:pt>
                <c:pt idx="119">
                  <c:v>8.8761322660299449</c:v>
                </c:pt>
                <c:pt idx="120">
                  <c:v>9.4042620895453766</c:v>
                </c:pt>
                <c:pt idx="121">
                  <c:v>9.9056271454953624</c:v>
                </c:pt>
                <c:pt idx="122">
                  <c:v>10.380814382325291</c:v>
                </c:pt>
                <c:pt idx="123">
                  <c:v>10.830955180597979</c:v>
                </c:pt>
                <c:pt idx="124">
                  <c:v>11.257430000414633</c:v>
                </c:pt>
                <c:pt idx="125">
                  <c:v>11.661611909036122</c:v>
                </c:pt>
                <c:pt idx="126">
                  <c:v>12.044867641369908</c:v>
                </c:pt>
                <c:pt idx="127">
                  <c:v>12.408602744267107</c:v>
                </c:pt>
                <c:pt idx="128">
                  <c:v>12.75425073806155</c:v>
                </c:pt>
                <c:pt idx="129">
                  <c:v>13.083070558219418</c:v>
                </c:pt>
                <c:pt idx="130">
                  <c:v>13.396389378319267</c:v>
                </c:pt>
                <c:pt idx="131">
                  <c:v>13.695290242476339</c:v>
                </c:pt>
                <c:pt idx="132">
                  <c:v>13.980872145163318</c:v>
                </c:pt>
                <c:pt idx="133">
                  <c:v>14.254161757189333</c:v>
                </c:pt>
                <c:pt idx="134">
                  <c:v>14.516083555264249</c:v>
                </c:pt>
                <c:pt idx="135">
                  <c:v>14.76766455735828</c:v>
                </c:pt>
                <c:pt idx="136">
                  <c:v>15.009722209648789</c:v>
                </c:pt>
                <c:pt idx="137">
                  <c:v>15.243002924349316</c:v>
                </c:pt>
                <c:pt idx="138">
                  <c:v>15.46817425329365</c:v>
                </c:pt>
                <c:pt idx="139">
                  <c:v>15.685850308004092</c:v>
                </c:pt>
                <c:pt idx="140">
                  <c:v>15.89661908914859</c:v>
                </c:pt>
                <c:pt idx="141">
                  <c:v>16.101018663789237</c:v>
                </c:pt>
                <c:pt idx="142">
                  <c:v>16.29910673552811</c:v>
                </c:pt>
                <c:pt idx="143">
                  <c:v>16.491006021956551</c:v>
                </c:pt>
                <c:pt idx="144">
                  <c:v>16.676847875694648</c:v>
                </c:pt>
                <c:pt idx="145">
                  <c:v>16.856824121005481</c:v>
                </c:pt>
                <c:pt idx="146">
                  <c:v>17.031107297231067</c:v>
                </c:pt>
                <c:pt idx="147">
                  <c:v>17.199772308338968</c:v>
                </c:pt>
                <c:pt idx="148">
                  <c:v>17.362821906972023</c:v>
                </c:pt>
                <c:pt idx="149">
                  <c:v>17.520212631086576</c:v>
                </c:pt>
                <c:pt idx="150">
                  <c:v>17.671882613935971</c:v>
                </c:pt>
                <c:pt idx="151">
                  <c:v>17.817759821087474</c:v>
                </c:pt>
                <c:pt idx="152">
                  <c:v>17.957765900440695</c:v>
                </c:pt>
                <c:pt idx="153">
                  <c:v>18.091811832348132</c:v>
                </c:pt>
                <c:pt idx="154">
                  <c:v>18.219797754137737</c:v>
                </c:pt>
                <c:pt idx="155">
                  <c:v>18.341611874481366</c:v>
                </c:pt>
                <c:pt idx="156">
                  <c:v>18.457133027763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1.2096781576222666</c:v>
                </c:pt>
                <c:pt idx="107">
                  <c:v>2.11394884219066</c:v>
                </c:pt>
                <c:pt idx="108">
                  <c:v>3.0866060025785655</c:v>
                </c:pt>
                <c:pt idx="109">
                  <c:v>4.1196380322464146</c:v>
                </c:pt>
                <c:pt idx="110">
                  <c:v>5.2050227829036997</c:v>
                </c:pt>
                <c:pt idx="111">
                  <c:v>6.4075634193778326</c:v>
                </c:pt>
                <c:pt idx="112">
                  <c:v>7.7064149535161901</c:v>
                </c:pt>
                <c:pt idx="113">
                  <c:v>9.0731561750194984</c:v>
                </c:pt>
                <c:pt idx="114">
                  <c:v>10.488112699317629</c:v>
                </c:pt>
                <c:pt idx="115">
                  <c:v>11.938476340654841</c:v>
                </c:pt>
                <c:pt idx="116">
                  <c:v>13.416516741837746</c:v>
                </c:pt>
                <c:pt idx="117">
                  <c:v>14.918854137643248</c:v>
                </c:pt>
                <c:pt idx="118">
                  <c:v>16.44419250368891</c:v>
                </c:pt>
                <c:pt idx="119">
                  <c:v>17.992816964985142</c:v>
                </c:pt>
                <c:pt idx="120">
                  <c:v>19.566532713823218</c:v>
                </c:pt>
                <c:pt idx="121">
                  <c:v>21.1677057086868</c:v>
                </c:pt>
                <c:pt idx="122">
                  <c:v>22.798762180241869</c:v>
                </c:pt>
                <c:pt idx="123">
                  <c:v>24.462602903261502</c:v>
                </c:pt>
                <c:pt idx="124">
                  <c:v>26.162727422856758</c:v>
                </c:pt>
                <c:pt idx="125">
                  <c:v>27.902978361676265</c:v>
                </c:pt>
                <c:pt idx="126">
                  <c:v>29.687136288721415</c:v>
                </c:pt>
                <c:pt idx="127">
                  <c:v>31.51901546974003</c:v>
                </c:pt>
                <c:pt idx="128">
                  <c:v>33.402748713098347</c:v>
                </c:pt>
                <c:pt idx="129">
                  <c:v>35.342358096319096</c:v>
                </c:pt>
                <c:pt idx="130">
                  <c:v>37.342000685101127</c:v>
                </c:pt>
                <c:pt idx="131">
                  <c:v>39.405663486893474</c:v>
                </c:pt>
                <c:pt idx="132">
                  <c:v>41.53739874668743</c:v>
                </c:pt>
                <c:pt idx="133">
                  <c:v>43.741272245751404</c:v>
                </c:pt>
                <c:pt idx="134">
                  <c:v>46.02133765035498</c:v>
                </c:pt>
                <c:pt idx="135">
                  <c:v>48.381704812222104</c:v>
                </c:pt>
                <c:pt idx="136">
                  <c:v>50.826404947070493</c:v>
                </c:pt>
                <c:pt idx="137">
                  <c:v>53.359540467205122</c:v>
                </c:pt>
                <c:pt idx="138">
                  <c:v>55.985238491114856</c:v>
                </c:pt>
                <c:pt idx="139">
                  <c:v>58.707677951415576</c:v>
                </c:pt>
                <c:pt idx="140">
                  <c:v>61.531128578827719</c:v>
                </c:pt>
                <c:pt idx="141">
                  <c:v>64.459925560396371</c:v>
                </c:pt>
                <c:pt idx="142">
                  <c:v>67.498429697880425</c:v>
                </c:pt>
                <c:pt idx="143">
                  <c:v>70.651094667689122</c:v>
                </c:pt>
                <c:pt idx="144">
                  <c:v>73.922474420854513</c:v>
                </c:pt>
                <c:pt idx="145">
                  <c:v>77.317229184962358</c:v>
                </c:pt>
                <c:pt idx="146">
                  <c:v>80.840131006600018</c:v>
                </c:pt>
                <c:pt idx="147">
                  <c:v>84.496069073789428</c:v>
                </c:pt>
                <c:pt idx="148">
                  <c:v>88.290054820612667</c:v>
                </c:pt>
                <c:pt idx="149">
                  <c:v>92.227226750892541</c:v>
                </c:pt>
                <c:pt idx="150">
                  <c:v>96.312854919973077</c:v>
                </c:pt>
                <c:pt idx="151">
                  <c:v>100.55234502455259</c:v>
                </c:pt>
                <c:pt idx="152">
                  <c:v>104.95124206623939</c:v>
                </c:pt>
                <c:pt idx="153">
                  <c:v>109.51523356416834</c:v>
                </c:pt>
                <c:pt idx="154">
                  <c:v>114.25015229588981</c:v>
                </c:pt>
                <c:pt idx="155">
                  <c:v>119.16197854911213</c:v>
                </c:pt>
                <c:pt idx="156">
                  <c:v>124.25684186419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58826275047948418</c:v>
                </c:pt>
                <c:pt idx="107">
                  <c:v>0.81267498282585127</c:v>
                </c:pt>
                <c:pt idx="108">
                  <c:v>1.0709708789688053</c:v>
                </c:pt>
                <c:pt idx="109">
                  <c:v>1.3522876374224184</c:v>
                </c:pt>
                <c:pt idx="110">
                  <c:v>1.6441168885827979</c:v>
                </c:pt>
                <c:pt idx="111">
                  <c:v>1.9376341104540957</c:v>
                </c:pt>
                <c:pt idx="112">
                  <c:v>2.2250569849308564</c:v>
                </c:pt>
                <c:pt idx="113">
                  <c:v>2.4999937755089237</c:v>
                </c:pt>
                <c:pt idx="114">
                  <c:v>2.7567458385344112</c:v>
                </c:pt>
                <c:pt idx="115">
                  <c:v>2.9910086940250808</c:v>
                </c:pt>
                <c:pt idx="116">
                  <c:v>3.2007947391863896</c:v>
                </c:pt>
                <c:pt idx="117">
                  <c:v>3.3884927363575885</c:v>
                </c:pt>
                <c:pt idx="118">
                  <c:v>3.5570454948789889</c:v>
                </c:pt>
                <c:pt idx="119">
                  <c:v>3.7049995868034644</c:v>
                </c:pt>
                <c:pt idx="120">
                  <c:v>3.8309100716175495</c:v>
                </c:pt>
                <c:pt idx="121">
                  <c:v>3.9337683709779272</c:v>
                </c:pt>
                <c:pt idx="122">
                  <c:v>4.0136915628133325</c:v>
                </c:pt>
                <c:pt idx="123">
                  <c:v>4.07184140032376</c:v>
                </c:pt>
                <c:pt idx="124">
                  <c:v>4.1115870866666997</c:v>
                </c:pt>
                <c:pt idx="125">
                  <c:v>4.1359246778044367</c:v>
                </c:pt>
                <c:pt idx="126">
                  <c:v>4.1439522327015625</c:v>
                </c:pt>
                <c:pt idx="127">
                  <c:v>4.1346817867922114</c:v>
                </c:pt>
                <c:pt idx="128">
                  <c:v>4.10821371380342</c:v>
                </c:pt>
                <c:pt idx="129">
                  <c:v>4.0652217113853881</c:v>
                </c:pt>
                <c:pt idx="130">
                  <c:v>4.0068521783429647</c:v>
                </c:pt>
                <c:pt idx="131">
                  <c:v>3.9350913626000734</c:v>
                </c:pt>
                <c:pt idx="132">
                  <c:v>3.8515483766420262</c:v>
                </c:pt>
                <c:pt idx="133">
                  <c:v>3.7562369793337753</c:v>
                </c:pt>
                <c:pt idx="134">
                  <c:v>3.649034345351251</c:v>
                </c:pt>
                <c:pt idx="135">
                  <c:v>3.5300290359625111</c:v>
                </c:pt>
                <c:pt idx="136">
                  <c:v>3.3996018075010257</c:v>
                </c:pt>
                <c:pt idx="137">
                  <c:v>3.2586495610336756</c:v>
                </c:pt>
                <c:pt idx="138">
                  <c:v>3.1084480895985367</c:v>
                </c:pt>
                <c:pt idx="139">
                  <c:v>2.9496538869022375</c:v>
                </c:pt>
                <c:pt idx="140">
                  <c:v>2.7822887674007548</c:v>
                </c:pt>
                <c:pt idx="141">
                  <c:v>2.60624206220717</c:v>
                </c:pt>
                <c:pt idx="142">
                  <c:v>2.4213815102445411</c:v>
                </c:pt>
                <c:pt idx="143">
                  <c:v>2.2277375564478321</c:v>
                </c:pt>
                <c:pt idx="144">
                  <c:v>2.0256777438950708</c:v>
                </c:pt>
                <c:pt idx="145">
                  <c:v>1.8160728570689431</c:v>
                </c:pt>
                <c:pt idx="146">
                  <c:v>1.5995921345344728</c:v>
                </c:pt>
                <c:pt idx="147">
                  <c:v>1.3762507641255839</c:v>
                </c:pt>
                <c:pt idx="148">
                  <c:v>1.1460688202384377</c:v>
                </c:pt>
                <c:pt idx="149">
                  <c:v>0.90929409317658116</c:v>
                </c:pt>
                <c:pt idx="150">
                  <c:v>0.66585419481606056</c:v>
                </c:pt>
                <c:pt idx="151">
                  <c:v>0.41597409031572585</c:v>
                </c:pt>
                <c:pt idx="152">
                  <c:v>0.1601847801682057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2450</c:v>
                </c:pt>
                <c:pt idx="1">
                  <c:v>2475</c:v>
                </c:pt>
                <c:pt idx="2">
                  <c:v>2667</c:v>
                </c:pt>
                <c:pt idx="3">
                  <c:v>2517</c:v>
                </c:pt>
                <c:pt idx="4">
                  <c:v>2343</c:v>
                </c:pt>
                <c:pt idx="5">
                  <c:v>2212</c:v>
                </c:pt>
                <c:pt idx="6">
                  <c:v>2118</c:v>
                </c:pt>
                <c:pt idx="7">
                  <c:v>1875</c:v>
                </c:pt>
                <c:pt idx="8">
                  <c:v>1857</c:v>
                </c:pt>
                <c:pt idx="9">
                  <c:v>1974</c:v>
                </c:pt>
                <c:pt idx="10">
                  <c:v>1820</c:v>
                </c:pt>
                <c:pt idx="11">
                  <c:v>1711</c:v>
                </c:pt>
                <c:pt idx="12">
                  <c:v>1612</c:v>
                </c:pt>
                <c:pt idx="13">
                  <c:v>1521</c:v>
                </c:pt>
                <c:pt idx="14">
                  <c:v>1324</c:v>
                </c:pt>
                <c:pt idx="15">
                  <c:v>1310</c:v>
                </c:pt>
                <c:pt idx="16">
                  <c:v>1390</c:v>
                </c:pt>
                <c:pt idx="17">
                  <c:v>1253</c:v>
                </c:pt>
                <c:pt idx="18">
                  <c:v>1146</c:v>
                </c:pt>
                <c:pt idx="19">
                  <c:v>1057</c:v>
                </c:pt>
                <c:pt idx="20">
                  <c:v>1009</c:v>
                </c:pt>
                <c:pt idx="21">
                  <c:v>865</c:v>
                </c:pt>
                <c:pt idx="22">
                  <c:v>846</c:v>
                </c:pt>
                <c:pt idx="23">
                  <c:v>878</c:v>
                </c:pt>
                <c:pt idx="24">
                  <c:v>787</c:v>
                </c:pt>
                <c:pt idx="25">
                  <c:v>762</c:v>
                </c:pt>
                <c:pt idx="26">
                  <c:v>669</c:v>
                </c:pt>
                <c:pt idx="27">
                  <c:v>612</c:v>
                </c:pt>
                <c:pt idx="28">
                  <c:v>513</c:v>
                </c:pt>
                <c:pt idx="29">
                  <c:v>511</c:v>
                </c:pt>
                <c:pt idx="30">
                  <c:v>549</c:v>
                </c:pt>
                <c:pt idx="31">
                  <c:v>474</c:v>
                </c:pt>
                <c:pt idx="32">
                  <c:v>438</c:v>
                </c:pt>
                <c:pt idx="33">
                  <c:v>389</c:v>
                </c:pt>
                <c:pt idx="34">
                  <c:v>362</c:v>
                </c:pt>
                <c:pt idx="35">
                  <c:v>298</c:v>
                </c:pt>
                <c:pt idx="36">
                  <c:v>298</c:v>
                </c:pt>
                <c:pt idx="37">
                  <c:v>298</c:v>
                </c:pt>
                <c:pt idx="38">
                  <c:v>282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0</c:v>
                </c:pt>
                <c:pt idx="46">
                  <c:v>120</c:v>
                </c:pt>
                <c:pt idx="47">
                  <c:v>119</c:v>
                </c:pt>
                <c:pt idx="48">
                  <c:v>110</c:v>
                </c:pt>
                <c:pt idx="49">
                  <c:v>86</c:v>
                </c:pt>
                <c:pt idx="50">
                  <c:v>83</c:v>
                </c:pt>
                <c:pt idx="51">
                  <c:v>88</c:v>
                </c:pt>
                <c:pt idx="52">
                  <c:v>85</c:v>
                </c:pt>
                <c:pt idx="53">
                  <c:v>81</c:v>
                </c:pt>
                <c:pt idx="54">
                  <c:v>79</c:v>
                </c:pt>
                <c:pt idx="55">
                  <c:v>66</c:v>
                </c:pt>
                <c:pt idx="56">
                  <c:v>55</c:v>
                </c:pt>
                <c:pt idx="57">
                  <c:v>56</c:v>
                </c:pt>
                <c:pt idx="58">
                  <c:v>62</c:v>
                </c:pt>
                <c:pt idx="59">
                  <c:v>56</c:v>
                </c:pt>
                <c:pt idx="60">
                  <c:v>57</c:v>
                </c:pt>
                <c:pt idx="61">
                  <c:v>48</c:v>
                </c:pt>
                <c:pt idx="62">
                  <c:v>38</c:v>
                </c:pt>
                <c:pt idx="63">
                  <c:v>27</c:v>
                </c:pt>
                <c:pt idx="64">
                  <c:v>29</c:v>
                </c:pt>
                <c:pt idx="65">
                  <c:v>32</c:v>
                </c:pt>
                <c:pt idx="66">
                  <c:v>31</c:v>
                </c:pt>
                <c:pt idx="67">
                  <c:v>41</c:v>
                </c:pt>
                <c:pt idx="68">
                  <c:v>39</c:v>
                </c:pt>
                <c:pt idx="69">
                  <c:v>35</c:v>
                </c:pt>
                <c:pt idx="70">
                  <c:v>25</c:v>
                </c:pt>
                <c:pt idx="71">
                  <c:v>25</c:v>
                </c:pt>
                <c:pt idx="72">
                  <c:v>34</c:v>
                </c:pt>
                <c:pt idx="73">
                  <c:v>31</c:v>
                </c:pt>
                <c:pt idx="74">
                  <c:v>29</c:v>
                </c:pt>
                <c:pt idx="75">
                  <c:v>30</c:v>
                </c:pt>
                <c:pt idx="76">
                  <c:v>32</c:v>
                </c:pt>
                <c:pt idx="77">
                  <c:v>30</c:v>
                </c:pt>
                <c:pt idx="78">
                  <c:v>32</c:v>
                </c:pt>
                <c:pt idx="79">
                  <c:v>44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0</c:v>
                </c:pt>
                <c:pt idx="84">
                  <c:v>38</c:v>
                </c:pt>
                <c:pt idx="85">
                  <c:v>45</c:v>
                </c:pt>
                <c:pt idx="86">
                  <c:v>57</c:v>
                </c:pt>
                <c:pt idx="87">
                  <c:v>52</c:v>
                </c:pt>
                <c:pt idx="88">
                  <c:v>52</c:v>
                </c:pt>
                <c:pt idx="89">
                  <c:v>58</c:v>
                </c:pt>
                <c:pt idx="90">
                  <c:v>58</c:v>
                </c:pt>
                <c:pt idx="91">
                  <c:v>54</c:v>
                </c:pt>
                <c:pt idx="92">
                  <c:v>48</c:v>
                </c:pt>
                <c:pt idx="93">
                  <c:v>57</c:v>
                </c:pt>
                <c:pt idx="94">
                  <c:v>51</c:v>
                </c:pt>
                <c:pt idx="95">
                  <c:v>55</c:v>
                </c:pt>
                <c:pt idx="96">
                  <c:v>55</c:v>
                </c:pt>
                <c:pt idx="97">
                  <c:v>57</c:v>
                </c:pt>
                <c:pt idx="98">
                  <c:v>56</c:v>
                </c:pt>
                <c:pt idx="99">
                  <c:v>55</c:v>
                </c:pt>
                <c:pt idx="100">
                  <c:v>64</c:v>
                </c:pt>
                <c:pt idx="101">
                  <c:v>58</c:v>
                </c:pt>
                <c:pt idx="102">
                  <c:v>61</c:v>
                </c:pt>
                <c:pt idx="103">
                  <c:v>61</c:v>
                </c:pt>
                <c:pt idx="104">
                  <c:v>53</c:v>
                </c:pt>
                <c:pt idx="105">
                  <c:v>56</c:v>
                </c:pt>
                <c:pt idx="106">
                  <c:v>57</c:v>
                </c:pt>
                <c:pt idx="107">
                  <c:v>68</c:v>
                </c:pt>
                <c:pt idx="108">
                  <c:v>68</c:v>
                </c:pt>
                <c:pt idx="109">
                  <c:v>71</c:v>
                </c:pt>
                <c:pt idx="110">
                  <c:v>68</c:v>
                </c:pt>
                <c:pt idx="111">
                  <c:v>70</c:v>
                </c:pt>
                <c:pt idx="112">
                  <c:v>59</c:v>
                </c:pt>
                <c:pt idx="113">
                  <c:v>64</c:v>
                </c:pt>
                <c:pt idx="114">
                  <c:v>68</c:v>
                </c:pt>
                <c:pt idx="115">
                  <c:v>68</c:v>
                </c:pt>
                <c:pt idx="116">
                  <c:v>68</c:v>
                </c:pt>
                <c:pt idx="117">
                  <c:v>66</c:v>
                </c:pt>
                <c:pt idx="118">
                  <c:v>60</c:v>
                </c:pt>
                <c:pt idx="119">
                  <c:v>52</c:v>
                </c:pt>
                <c:pt idx="120">
                  <c:v>52</c:v>
                </c:pt>
                <c:pt idx="121">
                  <c:v>58</c:v>
                </c:pt>
                <c:pt idx="122">
                  <c:v>54</c:v>
                </c:pt>
                <c:pt idx="123">
                  <c:v>60</c:v>
                </c:pt>
                <c:pt idx="124">
                  <c:v>62</c:v>
                </c:pt>
                <c:pt idx="125">
                  <c:v>66</c:v>
                </c:pt>
                <c:pt idx="126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8.4389662226081441</c:v>
                </c:pt>
                <c:pt idx="107">
                  <c:v>9.323797869198529</c:v>
                </c:pt>
                <c:pt idx="108">
                  <c:v>10.800520880777185</c:v>
                </c:pt>
                <c:pt idx="109">
                  <c:v>12.831284851936545</c:v>
                </c:pt>
                <c:pt idx="110">
                  <c:v>15.371138083933204</c:v>
                </c:pt>
                <c:pt idx="111">
                  <c:v>18.406715104860893</c:v>
                </c:pt>
                <c:pt idx="112">
                  <c:v>21.910586747236678</c:v>
                </c:pt>
                <c:pt idx="113">
                  <c:v>25.841639963546356</c:v>
                </c:pt>
                <c:pt idx="114">
                  <c:v>30.150689202945784</c:v>
                </c:pt>
                <c:pt idx="115">
                  <c:v>34.783773406749049</c:v>
                </c:pt>
                <c:pt idx="116">
                  <c:v>39.686091381052563</c:v>
                </c:pt>
                <c:pt idx="117">
                  <c:v>44.805248160143776</c:v>
                </c:pt>
                <c:pt idx="118">
                  <c:v>50.092373383745894</c:v>
                </c:pt>
                <c:pt idx="119">
                  <c:v>55.502295146455396</c:v>
                </c:pt>
                <c:pt idx="120">
                  <c:v>60.993338030701011</c:v>
                </c:pt>
                <c:pt idx="121">
                  <c:v>66.526427537833683</c:v>
                </c:pt>
                <c:pt idx="122">
                  <c:v>72.064916773575931</c:v>
                </c:pt>
                <c:pt idx="123">
                  <c:v>77.576922027580849</c:v>
                </c:pt>
                <c:pt idx="124">
                  <c:v>83.03613715521675</c:v>
                </c:pt>
                <c:pt idx="125">
                  <c:v>88.421298208440049</c:v>
                </c:pt>
                <c:pt idx="126">
                  <c:v>93.715121814828819</c:v>
                </c:pt>
                <c:pt idx="127">
                  <c:v>98.90435535237674</c:v>
                </c:pt>
                <c:pt idx="128">
                  <c:v>103.97926590472412</c:v>
                </c:pt>
                <c:pt idx="129">
                  <c:v>108.93304555596049</c:v>
                </c:pt>
                <c:pt idx="130">
                  <c:v>113.76146968685572</c:v>
                </c:pt>
                <c:pt idx="131">
                  <c:v>118.46206151212726</c:v>
                </c:pt>
                <c:pt idx="132">
                  <c:v>123.03397404258891</c:v>
                </c:pt>
                <c:pt idx="133">
                  <c:v>127.47772899803243</c:v>
                </c:pt>
                <c:pt idx="134">
                  <c:v>131.79518202606229</c:v>
                </c:pt>
                <c:pt idx="135">
                  <c:v>135.9895390165496</c:v>
                </c:pt>
                <c:pt idx="136">
                  <c:v>140.06491684252023</c:v>
                </c:pt>
                <c:pt idx="137">
                  <c:v>144.02605206110081</c:v>
                </c:pt>
                <c:pt idx="138">
                  <c:v>147.87816541032248</c:v>
                </c:pt>
                <c:pt idx="139">
                  <c:v>151.62677718820834</c:v>
                </c:pt>
                <c:pt idx="140">
                  <c:v>155.27749448480205</c:v>
                </c:pt>
                <c:pt idx="141">
                  <c:v>158.83596487417643</c:v>
                </c:pt>
                <c:pt idx="142">
                  <c:v>162.30737434348794</c:v>
                </c:pt>
                <c:pt idx="143">
                  <c:v>165.69654601021179</c:v>
                </c:pt>
                <c:pt idx="144">
                  <c:v>169.0079823793422</c:v>
                </c:pt>
                <c:pt idx="145">
                  <c:v>172.24591937236798</c:v>
                </c:pt>
                <c:pt idx="146">
                  <c:v>175.4142809704033</c:v>
                </c:pt>
                <c:pt idx="147">
                  <c:v>178.51661780692422</c:v>
                </c:pt>
                <c:pt idx="148">
                  <c:v>181.55604618816631</c:v>
                </c:pt>
                <c:pt idx="149">
                  <c:v>184.53524865764098</c:v>
                </c:pt>
                <c:pt idx="150">
                  <c:v>187.45645430954079</c:v>
                </c:pt>
                <c:pt idx="151">
                  <c:v>190.32143203494758</c:v>
                </c:pt>
                <c:pt idx="152">
                  <c:v>193.13157108042134</c:v>
                </c:pt>
                <c:pt idx="153">
                  <c:v>195.88795492189269</c:v>
                </c:pt>
                <c:pt idx="154">
                  <c:v>198.59139973227889</c:v>
                </c:pt>
                <c:pt idx="155">
                  <c:v>201.24245045595569</c:v>
                </c:pt>
                <c:pt idx="156">
                  <c:v>203.84135385756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9.4117449303192586</c:v>
                </c:pt>
                <c:pt idx="107">
                  <c:v>11.52327702941281</c:v>
                </c:pt>
                <c:pt idx="108">
                  <c:v>14.504190223999899</c:v>
                </c:pt>
                <c:pt idx="109">
                  <c:v>18.337990526459123</c:v>
                </c:pt>
                <c:pt idx="110">
                  <c:v>22.999036278901642</c:v>
                </c:pt>
                <c:pt idx="111">
                  <c:v>28.511779025868847</c:v>
                </c:pt>
                <c:pt idx="112">
                  <c:v>34.880214909789032</c:v>
                </c:pt>
                <c:pt idx="113">
                  <c:v>42.086070864295479</c:v>
                </c:pt>
                <c:pt idx="114">
                  <c:v>50.09736224686128</c:v>
                </c:pt>
                <c:pt idx="115">
                  <c:v>58.873583298221121</c:v>
                </c:pt>
                <c:pt idx="116">
                  <c:v>68.370997165773247</c:v>
                </c:pt>
                <c:pt idx="117">
                  <c:v>78.547228338427345</c:v>
                </c:pt>
                <c:pt idx="118">
                  <c:v>89.363068680070057</c:v>
                </c:pt>
                <c:pt idx="119">
                  <c:v>100.78321184543486</c:v>
                </c:pt>
                <c:pt idx="120">
                  <c:v>112.7764820281898</c:v>
                </c:pt>
                <c:pt idx="121">
                  <c:v>125.31475765155847</c:v>
                </c:pt>
                <c:pt idx="122">
                  <c:v>138.37240835082827</c:v>
                </c:pt>
                <c:pt idx="123">
                  <c:v>151.92900384927947</c:v>
                </c:pt>
                <c:pt idx="124">
                  <c:v>165.97108561469679</c:v>
                </c:pt>
                <c:pt idx="125">
                  <c:v>180.49205248650011</c:v>
                </c:pt>
                <c:pt idx="126">
                  <c:v>195.49081306174517</c:v>
                </c:pt>
                <c:pt idx="127">
                  <c:v>210.97177519307772</c:v>
                </c:pt>
                <c:pt idx="128">
                  <c:v>226.94463053595982</c:v>
                </c:pt>
                <c:pt idx="129">
                  <c:v>243.42363286655606</c:v>
                </c:pt>
                <c:pt idx="130">
                  <c:v>260.42719904942021</c:v>
                </c:pt>
                <c:pt idx="131">
                  <c:v>277.97692420461783</c:v>
                </c:pt>
                <c:pt idx="132">
                  <c:v>296.0973191285878</c:v>
                </c:pt>
                <c:pt idx="133">
                  <c:v>314.81560458183395</c:v>
                </c:pt>
                <c:pt idx="134">
                  <c:v>334.16184153842954</c:v>
                </c:pt>
                <c:pt idx="135">
                  <c:v>354.16889598459886</c:v>
                </c:pt>
                <c:pt idx="136">
                  <c:v>374.87196068499668</c:v>
                </c:pt>
                <c:pt idx="137">
                  <c:v>396.30826506905851</c:v>
                </c:pt>
                <c:pt idx="138">
                  <c:v>418.51696995641703</c:v>
                </c:pt>
                <c:pt idx="139">
                  <c:v>441.53896430291081</c:v>
                </c:pt>
                <c:pt idx="140">
                  <c:v>465.4166540192258</c:v>
                </c:pt>
                <c:pt idx="141">
                  <c:v>490.19392412837283</c:v>
                </c:pt>
                <c:pt idx="142">
                  <c:v>515.9160094902752</c:v>
                </c:pt>
                <c:pt idx="143">
                  <c:v>542.62957425309912</c:v>
                </c:pt>
                <c:pt idx="144">
                  <c:v>570.38272911887884</c:v>
                </c:pt>
                <c:pt idx="145">
                  <c:v>599.22503923095189</c:v>
                </c:pt>
                <c:pt idx="146">
                  <c:v>629.2075069877236</c:v>
                </c:pt>
                <c:pt idx="147">
                  <c:v>660.38262227365226</c:v>
                </c:pt>
                <c:pt idx="148">
                  <c:v>692.80437946748123</c:v>
                </c:pt>
                <c:pt idx="149">
                  <c:v>726.52835321675718</c:v>
                </c:pt>
                <c:pt idx="150">
                  <c:v>761.6117201594476</c:v>
                </c:pt>
                <c:pt idx="151">
                  <c:v>798.11327473143535</c:v>
                </c:pt>
                <c:pt idx="152">
                  <c:v>836.09355329179209</c:v>
                </c:pt>
                <c:pt idx="153">
                  <c:v>875.61495397487909</c:v>
                </c:pt>
                <c:pt idx="154">
                  <c:v>916.74183322497356</c:v>
                </c:pt>
                <c:pt idx="155">
                  <c:v>959.54056369822558</c:v>
                </c:pt>
                <c:pt idx="156">
                  <c:v>1004.0795462803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6.3391386145981841</c:v>
                </c:pt>
                <c:pt idx="107">
                  <c:v>5.0418125944357968</c:v>
                </c:pt>
                <c:pt idx="108">
                  <c:v>4.2628961254006157</c:v>
                </c:pt>
                <c:pt idx="109">
                  <c:v>3.968614959093884</c:v>
                </c:pt>
                <c:pt idx="110">
                  <c:v>4.1156388298909548</c:v>
                </c:pt>
                <c:pt idx="111">
                  <c:v>4.6562828719540903</c:v>
                </c:pt>
                <c:pt idx="112">
                  <c:v>5.5394831906599933</c:v>
                </c:pt>
                <c:pt idx="113">
                  <c:v>6.7122432902224887</c:v>
                </c:pt>
                <c:pt idx="114">
                  <c:v>8.1206978569479844</c:v>
                </c:pt>
                <c:pt idx="115">
                  <c:v>9.7116152713269344</c:v>
                </c:pt>
                <c:pt idx="116">
                  <c:v>11.434760473558441</c:v>
                </c:pt>
                <c:pt idx="117">
                  <c:v>13.246620486720971</c:v>
                </c:pt>
                <c:pt idx="118">
                  <c:v>15.109896940571431</c:v>
                </c:pt>
                <c:pt idx="119">
                  <c:v>16.988375653512421</c:v>
                </c:pt>
                <c:pt idx="120">
                  <c:v>18.847736635047127</c:v>
                </c:pt>
                <c:pt idx="121">
                  <c:v>20.656818720224706</c:v>
                </c:pt>
                <c:pt idx="122">
                  <c:v>22.388609702782958</c:v>
                </c:pt>
                <c:pt idx="123">
                  <c:v>24.020619001374698</c:v>
                </c:pt>
                <c:pt idx="124">
                  <c:v>25.536768776328174</c:v>
                </c:pt>
                <c:pt idx="125">
                  <c:v>26.926655375295979</c:v>
                </c:pt>
                <c:pt idx="126">
                  <c:v>28.181068190945652</c:v>
                </c:pt>
                <c:pt idx="127">
                  <c:v>29.291567169756483</c:v>
                </c:pt>
                <c:pt idx="128">
                  <c:v>30.251089828490805</c:v>
                </c:pt>
                <c:pt idx="129">
                  <c:v>31.05428392303066</c:v>
                </c:pt>
                <c:pt idx="130">
                  <c:v>31.697909379884472</c:v>
                </c:pt>
                <c:pt idx="131">
                  <c:v>32.181662818792205</c:v>
                </c:pt>
                <c:pt idx="132">
                  <c:v>32.507605773093651</c:v>
                </c:pt>
                <c:pt idx="133">
                  <c:v>32.678221824052585</c:v>
                </c:pt>
                <c:pt idx="134">
                  <c:v>32.696087395024378</c:v>
                </c:pt>
                <c:pt idx="135">
                  <c:v>32.56398773117634</c:v>
                </c:pt>
                <c:pt idx="136">
                  <c:v>32.285083088261786</c:v>
                </c:pt>
                <c:pt idx="137">
                  <c:v>31.863327948885214</c:v>
                </c:pt>
                <c:pt idx="138">
                  <c:v>31.30374573705906</c:v>
                </c:pt>
                <c:pt idx="139">
                  <c:v>30.611645177141163</c:v>
                </c:pt>
                <c:pt idx="140">
                  <c:v>29.791994433510133</c:v>
                </c:pt>
                <c:pt idx="141">
                  <c:v>28.849279393465743</c:v>
                </c:pt>
                <c:pt idx="142">
                  <c:v>27.787484585706068</c:v>
                </c:pt>
                <c:pt idx="143">
                  <c:v>26.610248227245648</c:v>
                </c:pt>
                <c:pt idx="144">
                  <c:v>25.321201057542083</c:v>
                </c:pt>
                <c:pt idx="145">
                  <c:v>23.924423766674948</c:v>
                </c:pt>
                <c:pt idx="146">
                  <c:v>22.424232830791595</c:v>
                </c:pt>
                <c:pt idx="147">
                  <c:v>20.824532807752107</c:v>
                </c:pt>
                <c:pt idx="148">
                  <c:v>19.128821504138344</c:v>
                </c:pt>
                <c:pt idx="149">
                  <c:v>17.340453917698085</c:v>
                </c:pt>
                <c:pt idx="150">
                  <c:v>15.462360239124209</c:v>
                </c:pt>
                <c:pt idx="151">
                  <c:v>13.497382585003606</c:v>
                </c:pt>
                <c:pt idx="152">
                  <c:v>11.448587644176669</c:v>
                </c:pt>
                <c:pt idx="153">
                  <c:v>9.3192124730443311</c:v>
                </c:pt>
                <c:pt idx="154">
                  <c:v>7.1124413988169977</c:v>
                </c:pt>
                <c:pt idx="155">
                  <c:v>4.8314767631024012</c:v>
                </c:pt>
                <c:pt idx="156">
                  <c:v>2.479587715821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58</c:f>
              <c:numCache>
                <c:formatCode>General</c:formatCode>
                <c:ptCount val="157"/>
                <c:pt idx="0">
                  <c:v>550</c:v>
                </c:pt>
                <c:pt idx="1">
                  <c:v>555</c:v>
                </c:pt>
                <c:pt idx="2">
                  <c:v>560</c:v>
                </c:pt>
                <c:pt idx="3">
                  <c:v>540</c:v>
                </c:pt>
                <c:pt idx="4">
                  <c:v>498</c:v>
                </c:pt>
                <c:pt idx="5">
                  <c:v>462</c:v>
                </c:pt>
                <c:pt idx="6">
                  <c:v>437</c:v>
                </c:pt>
                <c:pt idx="7">
                  <c:v>410</c:v>
                </c:pt>
                <c:pt idx="8">
                  <c:v>414</c:v>
                </c:pt>
                <c:pt idx="9">
                  <c:v>421</c:v>
                </c:pt>
                <c:pt idx="10">
                  <c:v>399</c:v>
                </c:pt>
                <c:pt idx="11">
                  <c:v>376</c:v>
                </c:pt>
                <c:pt idx="12">
                  <c:v>365</c:v>
                </c:pt>
                <c:pt idx="13">
                  <c:v>338</c:v>
                </c:pt>
                <c:pt idx="14">
                  <c:v>304</c:v>
                </c:pt>
                <c:pt idx="15">
                  <c:v>300</c:v>
                </c:pt>
                <c:pt idx="16">
                  <c:v>292</c:v>
                </c:pt>
                <c:pt idx="17">
                  <c:v>275</c:v>
                </c:pt>
                <c:pt idx="18">
                  <c:v>246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70</c:v>
                </c:pt>
                <c:pt idx="35">
                  <c:v>58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5</c:v>
                </c:pt>
                <c:pt idx="40">
                  <c:v>52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4</c:v>
                </c:pt>
                <c:pt idx="60">
                  <c:v>12</c:v>
                </c:pt>
                <c:pt idx="61">
                  <c:v>13</c:v>
                </c:pt>
                <c:pt idx="62">
                  <c:v>6</c:v>
                </c:pt>
                <c:pt idx="63">
                  <c:v>5</c:v>
                </c:pt>
                <c:pt idx="64">
                  <c:v>6</c:v>
                </c:pt>
                <c:pt idx="65">
                  <c:v>10</c:v>
                </c:pt>
                <c:pt idx="66">
                  <c:v>10</c:v>
                </c:pt>
                <c:pt idx="67">
                  <c:v>11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9</c:v>
                </c:pt>
                <c:pt idx="75">
                  <c:v>9</c:v>
                </c:pt>
                <c:pt idx="76">
                  <c:v>10</c:v>
                </c:pt>
                <c:pt idx="77">
                  <c:v>9</c:v>
                </c:pt>
                <c:pt idx="78">
                  <c:v>10</c:v>
                </c:pt>
                <c:pt idx="79">
                  <c:v>10</c:v>
                </c:pt>
                <c:pt idx="80">
                  <c:v>5</c:v>
                </c:pt>
                <c:pt idx="81">
                  <c:v>8</c:v>
                </c:pt>
                <c:pt idx="82">
                  <c:v>12</c:v>
                </c:pt>
                <c:pt idx="83">
                  <c:v>11</c:v>
                </c:pt>
                <c:pt idx="84">
                  <c:v>8</c:v>
                </c:pt>
                <c:pt idx="85">
                  <c:v>9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4</c:v>
                </c:pt>
                <c:pt idx="90">
                  <c:v>16</c:v>
                </c:pt>
                <c:pt idx="91">
                  <c:v>17</c:v>
                </c:pt>
                <c:pt idx="92">
                  <c:v>16</c:v>
                </c:pt>
                <c:pt idx="93">
                  <c:v>14</c:v>
                </c:pt>
                <c:pt idx="94">
                  <c:v>16</c:v>
                </c:pt>
                <c:pt idx="95">
                  <c:v>17</c:v>
                </c:pt>
                <c:pt idx="96">
                  <c:v>16</c:v>
                </c:pt>
                <c:pt idx="97">
                  <c:v>14</c:v>
                </c:pt>
                <c:pt idx="98">
                  <c:v>12</c:v>
                </c:pt>
                <c:pt idx="99">
                  <c:v>15</c:v>
                </c:pt>
                <c:pt idx="100">
                  <c:v>17</c:v>
                </c:pt>
                <c:pt idx="101">
                  <c:v>16</c:v>
                </c:pt>
                <c:pt idx="102">
                  <c:v>18</c:v>
                </c:pt>
                <c:pt idx="103">
                  <c:v>18</c:v>
                </c:pt>
                <c:pt idx="104">
                  <c:v>16</c:v>
                </c:pt>
                <c:pt idx="105">
                  <c:v>17</c:v>
                </c:pt>
                <c:pt idx="106">
                  <c:v>14</c:v>
                </c:pt>
                <c:pt idx="107">
                  <c:v>16</c:v>
                </c:pt>
                <c:pt idx="108">
                  <c:v>16</c:v>
                </c:pt>
                <c:pt idx="109">
                  <c:v>15</c:v>
                </c:pt>
                <c:pt idx="110">
                  <c:v>16</c:v>
                </c:pt>
                <c:pt idx="111">
                  <c:v>16</c:v>
                </c:pt>
                <c:pt idx="112">
                  <c:v>15</c:v>
                </c:pt>
                <c:pt idx="113">
                  <c:v>16</c:v>
                </c:pt>
                <c:pt idx="114">
                  <c:v>17</c:v>
                </c:pt>
                <c:pt idx="115">
                  <c:v>16</c:v>
                </c:pt>
                <c:pt idx="116">
                  <c:v>18</c:v>
                </c:pt>
                <c:pt idx="117">
                  <c:v>15</c:v>
                </c:pt>
                <c:pt idx="118">
                  <c:v>13</c:v>
                </c:pt>
                <c:pt idx="119">
                  <c:v>11</c:v>
                </c:pt>
                <c:pt idx="120">
                  <c:v>9</c:v>
                </c:pt>
                <c:pt idx="121">
                  <c:v>10</c:v>
                </c:pt>
                <c:pt idx="122">
                  <c:v>11</c:v>
                </c:pt>
                <c:pt idx="123">
                  <c:v>12</c:v>
                </c:pt>
                <c:pt idx="124">
                  <c:v>13</c:v>
                </c:pt>
                <c:pt idx="125">
                  <c:v>18</c:v>
                </c:pt>
                <c:pt idx="126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1.8216902920128402</c:v>
                </c:pt>
                <c:pt idx="107">
                  <c:v>2.0126958225648126</c:v>
                </c:pt>
                <c:pt idx="108">
                  <c:v>2.3314708837776275</c:v>
                </c:pt>
                <c:pt idx="109">
                  <c:v>2.7698448402605473</c:v>
                </c:pt>
                <c:pt idx="110">
                  <c:v>3.318114125125132</c:v>
                </c:pt>
                <c:pt idx="111">
                  <c:v>3.9733935804293354</c:v>
                </c:pt>
                <c:pt idx="112">
                  <c:v>4.7297621671734023</c:v>
                </c:pt>
                <c:pt idx="113">
                  <c:v>5.5783449547608592</c:v>
                </c:pt>
                <c:pt idx="114">
                  <c:v>6.5085244293734741</c:v>
                </c:pt>
                <c:pt idx="115">
                  <c:v>7.508652204922023</c:v>
                </c:pt>
                <c:pt idx="116">
                  <c:v>8.5668985382494149</c:v>
                </c:pt>
                <c:pt idx="117">
                  <c:v>9.671953110310497</c:v>
                </c:pt>
                <c:pt idx="118">
                  <c:v>10.813266446378751</c:v>
                </c:pt>
                <c:pt idx="119">
                  <c:v>11.98108744431978</c:v>
                </c:pt>
                <c:pt idx="120">
                  <c:v>13.16641977666853</c:v>
                </c:pt>
                <c:pt idx="121">
                  <c:v>14.360828567282994</c:v>
                </c:pt>
                <c:pt idx="122">
                  <c:v>15.556402978534877</c:v>
                </c:pt>
                <c:pt idx="123">
                  <c:v>16.746260384747032</c:v>
                </c:pt>
                <c:pt idx="124">
                  <c:v>17.924722169957306</c:v>
                </c:pt>
                <c:pt idx="125">
                  <c:v>19.087198159646789</c:v>
                </c:pt>
                <c:pt idx="126">
                  <c:v>20.229957452313599</c:v>
                </c:pt>
                <c:pt idx="127">
                  <c:v>21.350139250531171</c:v>
                </c:pt>
                <c:pt idx="128">
                  <c:v>22.445642543491083</c:v>
                </c:pt>
                <c:pt idx="129">
                  <c:v>23.514997730060259</c:v>
                </c:pt>
                <c:pt idx="130">
                  <c:v>24.557292856376563</c:v>
                </c:pt>
                <c:pt idx="131">
                  <c:v>25.571993267414065</c:v>
                </c:pt>
                <c:pt idx="132">
                  <c:v>26.558916126562536</c:v>
                </c:pt>
                <c:pt idx="133">
                  <c:v>27.518174055659159</c:v>
                </c:pt>
                <c:pt idx="134">
                  <c:v>28.450167626899294</c:v>
                </c:pt>
                <c:pt idx="135">
                  <c:v>29.355588884580953</c:v>
                </c:pt>
                <c:pt idx="136">
                  <c:v>30.235326523767831</c:v>
                </c:pt>
                <c:pt idx="137">
                  <c:v>31.0904030085755</c:v>
                </c:pt>
                <c:pt idx="138">
                  <c:v>31.921945321567648</c:v>
                </c:pt>
                <c:pt idx="139">
                  <c:v>32.731145110281716</c:v>
                </c:pt>
                <c:pt idx="140">
                  <c:v>33.5192127577468</c:v>
                </c:pt>
                <c:pt idx="141">
                  <c:v>34.287367386138591</c:v>
                </c:pt>
                <c:pt idx="142">
                  <c:v>35.036728476470316</c:v>
                </c:pt>
                <c:pt idx="143">
                  <c:v>35.768337178338975</c:v>
                </c:pt>
                <c:pt idx="144">
                  <c:v>36.483165431840241</c:v>
                </c:pt>
                <c:pt idx="145">
                  <c:v>37.182127630615497</c:v>
                </c:pt>
                <c:pt idx="146">
                  <c:v>37.866070830822238</c:v>
                </c:pt>
                <c:pt idx="147">
                  <c:v>38.535761495361641</c:v>
                </c:pt>
                <c:pt idx="148">
                  <c:v>39.191872330423827</c:v>
                </c:pt>
                <c:pt idx="149">
                  <c:v>39.834982407348079</c:v>
                </c:pt>
                <c:pt idx="150">
                  <c:v>40.465572912946079</c:v>
                </c:pt>
                <c:pt idx="151">
                  <c:v>41.084025691584358</c:v>
                </c:pt>
                <c:pt idx="152">
                  <c:v>41.690640635086716</c:v>
                </c:pt>
                <c:pt idx="153">
                  <c:v>42.285651629634522</c:v>
                </c:pt>
                <c:pt idx="154">
                  <c:v>42.869234859637189</c:v>
                </c:pt>
                <c:pt idx="155">
                  <c:v>43.441507960342058</c:v>
                </c:pt>
                <c:pt idx="156">
                  <c:v>44.002524199974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2.0316806488134889</c:v>
                </c:pt>
                <c:pt idx="107">
                  <c:v>2.4874897402028155</c:v>
                </c:pt>
                <c:pt idx="108">
                  <c:v>3.1309691054080462</c:v>
                </c:pt>
                <c:pt idx="109">
                  <c:v>3.9585582446791117</c:v>
                </c:pt>
                <c:pt idx="110">
                  <c:v>4.9647219824962763</c:v>
                </c:pt>
                <c:pt idx="111">
                  <c:v>6.1547385887495745</c:v>
                </c:pt>
                <c:pt idx="112">
                  <c:v>7.5294706968084357</c:v>
                </c:pt>
                <c:pt idx="113">
                  <c:v>9.0849737633807699</c:v>
                </c:pt>
                <c:pt idx="114">
                  <c:v>10.81434337491072</c:v>
                </c:pt>
                <c:pt idx="115">
                  <c:v>12.708835694004261</c:v>
                </c:pt>
                <c:pt idx="116">
                  <c:v>14.759009398384926</c:v>
                </c:pt>
                <c:pt idx="117">
                  <c:v>16.955717033834269</c:v>
                </c:pt>
                <c:pt idx="118">
                  <c:v>19.290494876355588</c:v>
                </c:pt>
                <c:pt idx="119">
                  <c:v>21.755721467973849</c:v>
                </c:pt>
                <c:pt idx="120">
                  <c:v>24.344666995789858</c:v>
                </c:pt>
                <c:pt idx="121">
                  <c:v>27.051260952817543</c:v>
                </c:pt>
                <c:pt idx="122">
                  <c:v>29.869970601355853</c:v>
                </c:pt>
                <c:pt idx="123">
                  <c:v>32.796385728615483</c:v>
                </c:pt>
                <c:pt idx="124">
                  <c:v>35.827601088049093</c:v>
                </c:pt>
                <c:pt idx="125">
                  <c:v>38.962191710077761</c:v>
                </c:pt>
                <c:pt idx="126">
                  <c:v>42.199921997343253</c:v>
                </c:pt>
                <c:pt idx="127">
                  <c:v>45.54174345766792</c:v>
                </c:pt>
                <c:pt idx="128">
                  <c:v>48.989748195013689</c:v>
                </c:pt>
                <c:pt idx="129">
                  <c:v>52.547013122473757</c:v>
                </c:pt>
                <c:pt idx="130">
                  <c:v>56.2175138245548</c:v>
                </c:pt>
                <c:pt idx="131">
                  <c:v>60.005911964728455</c:v>
                </c:pt>
                <c:pt idx="132">
                  <c:v>63.917498603385823</c:v>
                </c:pt>
                <c:pt idx="133">
                  <c:v>67.95814979143681</c:v>
                </c:pt>
                <c:pt idx="134">
                  <c:v>72.134354686817701</c:v>
                </c:pt>
                <c:pt idx="135">
                  <c:v>76.453207955683482</c:v>
                </c:pt>
                <c:pt idx="136">
                  <c:v>80.922306537757478</c:v>
                </c:pt>
                <c:pt idx="137">
                  <c:v>85.549687020506795</c:v>
                </c:pt>
                <c:pt idx="138">
                  <c:v>90.343802913884005</c:v>
                </c:pt>
                <c:pt idx="139">
                  <c:v>95.313480774594836</c:v>
                </c:pt>
                <c:pt idx="140">
                  <c:v>100.46787461911273</c:v>
                </c:pt>
                <c:pt idx="141">
                  <c:v>105.8164577547451</c:v>
                </c:pt>
                <c:pt idx="142">
                  <c:v>111.36899487339957</c:v>
                </c:pt>
                <c:pt idx="143">
                  <c:v>117.13555920246648</c:v>
                </c:pt>
                <c:pt idx="144">
                  <c:v>123.12653623188925</c:v>
                </c:pt>
                <c:pt idx="145">
                  <c:v>129.35262541679757</c:v>
                </c:pt>
                <c:pt idx="146">
                  <c:v>135.82483646757467</c:v>
                </c:pt>
                <c:pt idx="147">
                  <c:v>142.55450019304521</c:v>
                </c:pt>
                <c:pt idx="148">
                  <c:v>149.55327217198339</c:v>
                </c:pt>
                <c:pt idx="149">
                  <c:v>156.83314911029456</c:v>
                </c:pt>
                <c:pt idx="150">
                  <c:v>164.40647352998528</c:v>
                </c:pt>
                <c:pt idx="151">
                  <c:v>172.28593718147221</c:v>
                </c:pt>
                <c:pt idx="152">
                  <c:v>180.48460783807332</c:v>
                </c:pt>
                <c:pt idx="153">
                  <c:v>189.01595516806398</c:v>
                </c:pt>
                <c:pt idx="154">
                  <c:v>197.89387157327107</c:v>
                </c:pt>
                <c:pt idx="155">
                  <c:v>207.13268468816716</c:v>
                </c:pt>
                <c:pt idx="156">
                  <c:v>216.74715997408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8</c:f>
              <c:numCache>
                <c:formatCode>m/d/yyyy</c:formatCode>
                <c:ptCount val="157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58</c:f>
              <c:numCache>
                <c:formatCode>General</c:formatCode>
                <c:ptCount val="157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1.3684078084114237</c:v>
                </c:pt>
                <c:pt idx="107">
                  <c:v>1.0883585518835208</c:v>
                </c:pt>
                <c:pt idx="108">
                  <c:v>0.92021656239090643</c:v>
                </c:pt>
                <c:pt idx="109">
                  <c:v>0.85669111038151269</c:v>
                </c:pt>
                <c:pt idx="110">
                  <c:v>0.88842864209572281</c:v>
                </c:pt>
                <c:pt idx="111">
                  <c:v>1.0051355913690199</c:v>
                </c:pt>
                <c:pt idx="112">
                  <c:v>1.1957889728435032</c:v>
                </c:pt>
                <c:pt idx="113">
                  <c:v>1.4489486172688519</c:v>
                </c:pt>
                <c:pt idx="114">
                  <c:v>1.7529868066943817</c:v>
                </c:pt>
                <c:pt idx="115">
                  <c:v>2.0964126165292507</c:v>
                </c:pt>
                <c:pt idx="116">
                  <c:v>2.4683819791064012</c:v>
                </c:pt>
                <c:pt idx="117">
                  <c:v>2.859501899413929</c:v>
                </c:pt>
                <c:pt idx="118">
                  <c:v>3.2617209079723546</c:v>
                </c:pt>
                <c:pt idx="119">
                  <c:v>3.6672215753348754</c:v>
                </c:pt>
                <c:pt idx="120">
                  <c:v>4.0685953645005357</c:v>
                </c:pt>
                <c:pt idx="121">
                  <c:v>4.4591156231541857</c:v>
                </c:pt>
                <c:pt idx="122">
                  <c:v>4.8329513202648124</c:v>
                </c:pt>
                <c:pt idx="123">
                  <c:v>5.1852474922478793</c:v>
                </c:pt>
                <c:pt idx="124">
                  <c:v>5.5125334717640522</c:v>
                </c:pt>
                <c:pt idx="125">
                  <c:v>5.8125634585597412</c:v>
                </c:pt>
                <c:pt idx="126">
                  <c:v>6.0833491908599298</c:v>
                </c:pt>
                <c:pt idx="127">
                  <c:v>6.3230687436613442</c:v>
                </c:pt>
                <c:pt idx="128">
                  <c:v>6.530197563267218</c:v>
                </c:pt>
                <c:pt idx="129">
                  <c:v>6.7035802793522086</c:v>
                </c:pt>
                <c:pt idx="130">
                  <c:v>6.8425174685190298</c:v>
                </c:pt>
                <c:pt idx="131">
                  <c:v>6.9469436411259506</c:v>
                </c:pt>
                <c:pt idx="132">
                  <c:v>7.0173038132060581</c:v>
                </c:pt>
                <c:pt idx="133">
                  <c:v>7.0541341068101238</c:v>
                </c:pt>
                <c:pt idx="134">
                  <c:v>7.0579906854883747</c:v>
                </c:pt>
                <c:pt idx="135">
                  <c:v>7.0294747904293997</c:v>
                </c:pt>
                <c:pt idx="136">
                  <c:v>6.9692686150528944</c:v>
                </c:pt>
                <c:pt idx="137">
                  <c:v>6.8782257997669989</c:v>
                </c:pt>
                <c:pt idx="138">
                  <c:v>6.7574307336443473</c:v>
                </c:pt>
                <c:pt idx="139">
                  <c:v>6.6080293925510025</c:v>
                </c:pt>
                <c:pt idx="140">
                  <c:v>6.4310942368546131</c:v>
                </c:pt>
                <c:pt idx="141">
                  <c:v>6.2275936194469272</c:v>
                </c:pt>
                <c:pt idx="142">
                  <c:v>5.998387666681821</c:v>
                </c:pt>
                <c:pt idx="143">
                  <c:v>5.7442617478143445</c:v>
                </c:pt>
                <c:pt idx="144">
                  <c:v>5.4659996179453314</c:v>
                </c:pt>
                <c:pt idx="145">
                  <c:v>5.1644821614516774</c:v>
                </c:pt>
                <c:pt idx="146">
                  <c:v>4.8406411610287927</c:v>
                </c:pt>
                <c:pt idx="147">
                  <c:v>4.4953194800038494</c:v>
                </c:pt>
                <c:pt idx="148">
                  <c:v>4.1292721777200727</c:v>
                </c:pt>
                <c:pt idx="149">
                  <c:v>3.7432234858742861</c:v>
                </c:pt>
                <c:pt idx="150">
                  <c:v>3.3378059345416391</c:v>
                </c:pt>
                <c:pt idx="151">
                  <c:v>2.9136330415462988</c:v>
                </c:pt>
                <c:pt idx="152">
                  <c:v>2.4713668023438418</c:v>
                </c:pt>
                <c:pt idx="153">
                  <c:v>2.0117059890426967</c:v>
                </c:pt>
                <c:pt idx="154">
                  <c:v>1.5353379912842877</c:v>
                </c:pt>
                <c:pt idx="155">
                  <c:v>1.0429540874153505</c:v>
                </c:pt>
                <c:pt idx="156">
                  <c:v>0.53525997746078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2539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3492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7.09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7.09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chart" Target="../charts/chart1.xml"/><Relationship Id="rId5" Type="http://schemas.openxmlformats.org/officeDocument/2006/relationships/tags" Target="../tags/tag2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chart" Target="../charts/chart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chart" Target="../charts/chart3.xml"/><Relationship Id="rId5" Type="http://schemas.openxmlformats.org/officeDocument/2006/relationships/tags" Target="../tags/tag4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ariantní predikce možného vývoje epidemie v létě 2021</a:t>
            </a:r>
          </a:p>
          <a:p>
            <a:r>
              <a:rPr lang="cs-CZ" sz="5200" b="1" i="1" dirty="0"/>
              <a:t>Draft k </a:t>
            </a:r>
            <a:r>
              <a:rPr lang="en-US" sz="5200" b="1" i="1" dirty="0"/>
              <a:t>5</a:t>
            </a:r>
            <a:r>
              <a:rPr lang="cs-CZ" sz="5200" b="1" i="1" dirty="0"/>
              <a:t>. – 6. </a:t>
            </a:r>
            <a:r>
              <a:rPr lang="en-US" sz="5200" b="1" i="1" dirty="0"/>
              <a:t>9</a:t>
            </a:r>
            <a:r>
              <a:rPr lang="cs-CZ" sz="5200" b="1" i="1" dirty="0"/>
              <a:t>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C9CD87E1-26DB-44DB-8B29-23B662244B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889" y="1126773"/>
            <a:ext cx="9002268" cy="39060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A62F1D2-ED3B-4B05-8AB5-7ACCECEF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"/>
            <a:ext cx="10347758" cy="576000"/>
          </a:xfrm>
        </p:spPr>
        <p:txBody>
          <a:bodyPr/>
          <a:lstStyle/>
          <a:p>
            <a:r>
              <a:rPr lang="cs-CZ" sz="1800" dirty="0"/>
              <a:t>Zpomalení šíření infekce v důsledku snížení počtu vnímavých jedinců: modelová projekce</a:t>
            </a:r>
          </a:p>
        </p:txBody>
      </p:sp>
      <p:graphicFrame>
        <p:nvGraphicFramePr>
          <p:cNvPr id="5" name="Tabulka 10">
            <a:extLst>
              <a:ext uri="{FF2B5EF4-FFF2-40B4-BE49-F238E27FC236}">
                <a16:creationId xmlns:a16="http://schemas.microsoft.com/office/drawing/2014/main" id="{15DD0D57-A810-45FC-8E29-0146AAE4DCEB}"/>
              </a:ext>
            </a:extLst>
          </p:cNvPr>
          <p:cNvGraphicFramePr>
            <a:graphicFrameLocks noGrp="1"/>
          </p:cNvGraphicFramePr>
          <p:nvPr/>
        </p:nvGraphicFramePr>
        <p:xfrm>
          <a:off x="1506886" y="4379686"/>
          <a:ext cx="8287972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998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41336560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954741850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62338829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04F1CD9-2EB1-4F23-ABD5-6313403E78F1}"/>
              </a:ext>
            </a:extLst>
          </p:cNvPr>
          <p:cNvSpPr txBox="1"/>
          <p:nvPr/>
        </p:nvSpPr>
        <p:spPr>
          <a:xfrm>
            <a:off x="7966771" y="4695495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61F783C-7F71-4433-AE26-459A616AFA15}"/>
              </a:ext>
            </a:extLst>
          </p:cNvPr>
          <p:cNvSpPr txBox="1"/>
          <p:nvPr/>
        </p:nvSpPr>
        <p:spPr>
          <a:xfrm>
            <a:off x="943889" y="616795"/>
            <a:ext cx="93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stavů v populaci v čase kalkulující 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rychlým postupem vakcinace (optimistická projekce)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75099" y="5073578"/>
            <a:ext cx="117121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i optimistických scénářích modelů je nutné počítat s cca 25% podílem populace, která je a zůstane primárně vnímavá k infekci.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 částečného zhoršení vývoje tedy stále není nulové, zejména s ohledem na možné zavlečení nových variant viru. Na podzim nelze vyloučit vznik plošně rizikových ohnisek nebo větších clusterů. Postupující vakcinace snižuje počet citlivých osob, nyní již i v relativně mladých věkových kategoriích. Očkování je účinnou ochranou nejen proti nákaze samotné, ale zejména proti těžkému průběhu onemocnění, z tohoto důvodu je možné s vysokou pravděpodobností očekávat nízkou zátěž nemocnic. 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FCD1E35-AE1F-4818-BBF1-112E9F55849A}"/>
              </a:ext>
            </a:extLst>
          </p:cNvPr>
          <p:cNvSpPr txBox="1"/>
          <p:nvPr/>
        </p:nvSpPr>
        <p:spPr>
          <a:xfrm>
            <a:off x="9914726" y="3548689"/>
            <a:ext cx="381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800" dirty="0">
                <a:solidFill>
                  <a:srgbClr val="3333CC"/>
                </a:solidFill>
                <a:latin typeface="Arial Black" panose="020B0A04020102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158596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Modelové predikce dle různých scénářů kalkulujících s různým postupem vakcinace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36191039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23898"/>
            <a:ext cx="118864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é predikce vychází z původního modelu SEIR, který byl pro epidemii COVID-19 v ČR adaptován na počátku dubna 2020. </a:t>
            </a:r>
            <a:r>
              <a:rPr kumimoji="0" lang="cs-CZ" sz="220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004226" y="624847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226121"/>
            <a:ext cx="115376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a počátku roku 2021 doplněn o komponentu Vakcinace (Model SEIR</a:t>
            </a:r>
            <a:r>
              <a:rPr kumimoji="0" lang="cs-CZ" sz="20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– tedy stav po očkování, přičemž predikce pracují s různě nastavitelným ochranným efektem vakcinace (plná ochrana již s odstupem po 1. dávce je nejvýznamnější efekt), s možnou ztrátou ochrany v čase nebo v důsledku šíření nových nakažlivějších variant viru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14457" y="3775939"/>
            <a:ext cx="1160647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y uvažují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reálných dat ISIN a dle nich pracují s projekcí počtu očkovaných pro budoucí simulace. Jedinec dosáhne ochrany před nákazou až s časovým odstupem po druhé dávce (pomalý scénář) nebo při první dávce (rychlý scénář), přičemž se předpokládá i ochrana před možností přenášet infekci. Jedinci přecházejí ze stavů S a R proporčně do stavu V (očkovaní jsou i jedinci s prodělanou infekcí v minulosti – tyto skupiny nejsou vzájemně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juktní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Různé scénáře simulují podmínky šíření Delta varianty viru během letních měsíců (simulace byla zahájena pro významný start šíření po 20.6.). </a:t>
            </a:r>
            <a:r>
              <a:rPr lang="cs-CZ" dirty="0">
                <a:solidFill>
                  <a:srgbClr val="000000"/>
                </a:solidFill>
                <a:latin typeface="Arial" panose="020B0604020202020204"/>
              </a:rPr>
              <a:t>Navazující pravděpodobnostní a stavové modely predikují z vývoje prevalenční zátěže riziko zátěže nemocnic – do těchto modelů vstupují i rizikové faktory související se zranitelností různých skupin popul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902FF170-127D-4BBB-9AB4-F9DB6E719F36}"/>
              </a:ext>
            </a:extLst>
          </p:cNvPr>
          <p:cNvSpPr/>
          <p:nvPr/>
        </p:nvSpPr>
        <p:spPr>
          <a:xfrm>
            <a:off x="5004227" y="168678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4117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6081610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2859862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101600"/>
            <a:ext cx="6507332" cy="1305016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381740" y="1332872"/>
            <a:ext cx="11810260" cy="55686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e dlouhodobých simulací z května - června 2021: </a:t>
            </a:r>
            <a:r>
              <a:rPr lang="cs-CZ" sz="1600" b="1" dirty="0">
                <a:solidFill>
                  <a:srgbClr val="33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časný vývoj epidemie stále potvrzuje optimistické scénáře, které předpokládají brždění šíření nákazy posílené o významná efekt postupující vakcinace. Do těchto dat se ale promítá i efekt sezónnosti, který může maskovat rizikový potenciál. Rostoucí počet nových nákaz v populaci z počátku července naznačil stále existující potenciál k zhoršení situace, jistě v důsledku šíření nové varianty viru. Proto jsou v modelech zpracovány i rizikové scénáře vývoje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ClrTx/>
              <a:buNone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 – optimistický, šíření nakažlivější varianty viru kontrolované populační imunitou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pracující s šířením nové varianty viru unikající částečně vakcinaci (20%), avšak s optimistickou projekcí postupu vakcinace. Scénář kalkuluje s rychlým postupem vakcinace a s jejím dlouhodobě trvalým ochranným efektem proti nové variantě viru. Scénář předpokládá dosažení minimálně 70% - 80% proočkovanosti populace 16+ do konce srpna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realistický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změna situace daná šířením nové varianty viru unikající částečně vakcinac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0% únik po 1. dávce)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roveň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ykazující zvýšenou přenosnost (nárůst bazální reprodukce o &gt; 20%). Scénář realisticky předpokládá sníženou proočkovanost (cca 60%) u populace 16+ do konce srpna. Scénář předpokládá trvalý efekt ochrany dokončeným očkováním i u většiny zranitelných a seniorních populačních skupin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I – vysoce rizikový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změna situace daná šířením nové varianty viru  významně unikající vakcinac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z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roveň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ykazující zvýšenou přenosnost (nárůst bazální reprodukce minimálně o &gt; 20%), šíření mezi zranitelnými skupinami obyvatel. Nedostatečná proočkovanost (&lt; 60% v populaci 16+), částečná ztráta (vyprchání) ochrany dokončeným očkováním i u zranitelných a seniorních populačních skupi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5939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52618B0E-0284-4558-9242-3DBF6C4963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512" y="1534696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</a:t>
            </a:r>
            <a:r>
              <a:rPr kumimoji="0" lang="cs-CZ" sz="14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dalších 2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200608" y="198705"/>
            <a:ext cx="11796603" cy="800219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dirty="0">
                <a:solidFill>
                  <a:schemeClr val="bg1"/>
                </a:solidFill>
                <a:latin typeface="Calibri" panose="020F0502020204030204"/>
              </a:rPr>
              <a:t>O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timistický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del: šíření nakažlivější varianty viru kontrolované populační imunitou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2586670" y="2151388"/>
            <a:ext cx="531307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kalkuluje s rizikem šíření nové varianty viru (modelově po 20.6.) unikající částečně ochraně dané vakcinací.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acuje s optimistickou projekcí proočkovanosti populace a předpokládá trvalou ochranu většiny naočkovaných potenciálně zranitelných osob.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F8902A03-CA26-411F-A4B5-B7E4CEB0B904}"/>
              </a:ext>
            </a:extLst>
          </p:cNvPr>
          <p:cNvSpPr txBox="1"/>
          <p:nvPr/>
        </p:nvSpPr>
        <p:spPr>
          <a:xfrm>
            <a:off x="8173975" y="5870196"/>
            <a:ext cx="3977850" cy="738664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PRO OČKOVÁNÍ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b="1" u="sng" dirty="0">
                <a:solidFill>
                  <a:srgbClr val="FFC000"/>
                </a:solidFill>
                <a:latin typeface="Calibri" panose="020F0502020204030204"/>
              </a:rPr>
              <a:t>Plná </a:t>
            </a:r>
            <a:r>
              <a:rPr kumimoji="0" 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až po 2. dávce s optimistickou účast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ca 70 – 80 % plně očkovanýc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1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)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konci srpna</a:t>
            </a:r>
          </a:p>
        </p:txBody>
      </p:sp>
      <p:graphicFrame>
        <p:nvGraphicFramePr>
          <p:cNvPr id="21" name="Tabulka 10">
            <a:extLst>
              <a:ext uri="{FF2B5EF4-FFF2-40B4-BE49-F238E27FC236}">
                <a16:creationId xmlns:a16="http://schemas.microsoft.com/office/drawing/2014/main" id="{E5273A5B-6F76-4409-B5F3-FB52F2CC9C0A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74696"/>
          <a:ext cx="7834433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6053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1094730">
                  <a:extLst>
                    <a:ext uri="{9D8B030D-6E8A-4147-A177-3AD203B41FA5}">
                      <a16:colId xmlns:a16="http://schemas.microsoft.com/office/drawing/2014/main" val="805271721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áří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89342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Projekce predikcí do vývoje zátěže nemocnic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5959751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ádaný dopad zhoršující se epidemické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uace na podzim 2021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303599FD-4FB1-4418-8DFD-122D2ED7BAE9}"/>
              </a:ext>
            </a:extLst>
          </p:cNvPr>
          <p:cNvSpPr txBox="1"/>
          <p:nvPr/>
        </p:nvSpPr>
        <p:spPr>
          <a:xfrm>
            <a:off x="471714" y="2025266"/>
            <a:ext cx="1124857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i="1" dirty="0"/>
              <a:t>Ačkoli pro podzimní měsíce 2021 nelze vyloučit zhoršení epidemické situace </a:t>
            </a:r>
          </a:p>
          <a:p>
            <a:pPr algn="ctr"/>
            <a:r>
              <a:rPr lang="cs-CZ" sz="2800" i="1" dirty="0"/>
              <a:t>a eskalaci v šíření nákazy, provedené projekce ukazují, že minimálně na počátku podzimní sezóny nebude mít epidemie tak významný zdravotní dopad jako tomu bylo na podzim 2020. Jde zejména o pozitivní důsledek proočkování populace a potenciálně zranitelných populačních skupin. </a:t>
            </a:r>
          </a:p>
        </p:txBody>
      </p:sp>
      <p:sp>
        <p:nvSpPr>
          <p:cNvPr id="7" name="Šipka dolů 1">
            <a:extLst>
              <a:ext uri="{FF2B5EF4-FFF2-40B4-BE49-F238E27FC236}">
                <a16:creationId xmlns:a16="http://schemas.microsoft.com/office/drawing/2014/main" id="{955C0929-9C1B-441E-ABC9-5B55337FCB5F}"/>
              </a:ext>
            </a:extLst>
          </p:cNvPr>
          <p:cNvSpPr/>
          <p:nvPr/>
        </p:nvSpPr>
        <p:spPr>
          <a:xfrm>
            <a:off x="5278357" y="4460709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4235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5329151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275D23C4-4989-44E2-88B9-234E4BAF9609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F79E1C56-E52B-4DC5-B7BC-357DF7A0ED3E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78C82521-5EA5-4A35-9451-120226A209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ACAC3EFD-09FF-4784-BA2B-DBDD66EAF1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29">
            <a:extLst>
              <a:ext uri="{FF2B5EF4-FFF2-40B4-BE49-F238E27FC236}">
                <a16:creationId xmlns:a16="http://schemas.microsoft.com/office/drawing/2014/main" id="{D5015280-53F7-482D-A9A4-19B7B001A5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3C3DDE8-6E1E-4597-B032-DA6A423922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33" name="Rectangle 28">
            <a:extLst>
              <a:ext uri="{FF2B5EF4-FFF2-40B4-BE49-F238E27FC236}">
                <a16:creationId xmlns:a16="http://schemas.microsoft.com/office/drawing/2014/main" id="{1404746E-BB3E-4893-9C3C-9E7F636B753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34" name="Přímá spojnice 32">
            <a:extLst>
              <a:ext uri="{FF2B5EF4-FFF2-40B4-BE49-F238E27FC236}">
                <a16:creationId xmlns:a16="http://schemas.microsoft.com/office/drawing/2014/main" id="{1DEC34F9-3DFD-4E2C-8BBB-9277CFB1AA7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8578E5FB-3E53-4FB4-A221-B094F3A9935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A5557B1-B1DF-4682-B740-9F582A547C6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394B98A4-9E1E-479D-AE2E-2B907F3268F3}"/>
              </a:ext>
            </a:extLst>
          </p:cNvPr>
          <p:cNvCxnSpPr>
            <a:cxnSpLocks/>
          </p:cNvCxnSpPr>
          <p:nvPr/>
        </p:nvCxnSpPr>
        <p:spPr>
          <a:xfrm flipV="1">
            <a:off x="1031638" y="4679491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3DDA4366-132A-41A9-B5F8-B054D4408F2E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496492CA-8B50-4658-9481-A6F74AB6929C}"/>
              </a:ext>
            </a:extLst>
          </p:cNvPr>
          <p:cNvSpPr txBox="1"/>
          <p:nvPr/>
        </p:nvSpPr>
        <p:spPr>
          <a:xfrm>
            <a:off x="2429551" y="4293376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</p:spTree>
    <p:extLst>
      <p:ext uri="{BB962C8B-B14F-4D97-AF65-F5344CB8AC3E}">
        <p14:creationId xmlns:p14="http://schemas.microsoft.com/office/powerpoint/2010/main" val="29948682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154371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5E65512A-F0D5-4BE7-A4E2-98384B98CFD5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DB77B4B0-9F39-4E6B-A88C-E4C90D9353B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19912165-E8E8-4CDB-B245-E0E2CAA518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9">
            <a:extLst>
              <a:ext uri="{FF2B5EF4-FFF2-40B4-BE49-F238E27FC236}">
                <a16:creationId xmlns:a16="http://schemas.microsoft.com/office/drawing/2014/main" id="{D6A9C951-7195-4EDD-AC78-4BFC3E06A95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CAD8343-049D-4D72-B1C4-E2C38DF87A4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27" name="Rectangle 28">
            <a:extLst>
              <a:ext uri="{FF2B5EF4-FFF2-40B4-BE49-F238E27FC236}">
                <a16:creationId xmlns:a16="http://schemas.microsoft.com/office/drawing/2014/main" id="{6329A8F5-1D97-407A-ABA6-0A42FFD6F32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28" name="Přímá spojnice 32">
            <a:extLst>
              <a:ext uri="{FF2B5EF4-FFF2-40B4-BE49-F238E27FC236}">
                <a16:creationId xmlns:a16="http://schemas.microsoft.com/office/drawing/2014/main" id="{7D17B7DA-7AEF-40F2-9839-9405E41EF55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A97D4125-89A3-40B2-B405-BBE878ACA41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42AACBE-6AF2-45F0-BA07-2553C9302D3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8C1D1870-CE70-4FDC-BA61-BB11AC2DA04D}"/>
              </a:ext>
            </a:extLst>
          </p:cNvPr>
          <p:cNvCxnSpPr>
            <a:cxnSpLocks/>
          </p:cNvCxnSpPr>
          <p:nvPr/>
        </p:nvCxnSpPr>
        <p:spPr>
          <a:xfrm flipV="1">
            <a:off x="1133240" y="476657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F2BBBD3E-4807-4FCA-93C2-0F20C478E13A}"/>
              </a:ext>
            </a:extLst>
          </p:cNvPr>
          <p:cNvCxnSpPr>
            <a:cxnSpLocks/>
          </p:cNvCxnSpPr>
          <p:nvPr/>
        </p:nvCxnSpPr>
        <p:spPr>
          <a:xfrm>
            <a:off x="7076840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798A0EB5-CA89-4952-A871-D1821A623EDC}"/>
              </a:ext>
            </a:extLst>
          </p:cNvPr>
          <p:cNvSpPr txBox="1"/>
          <p:nvPr/>
        </p:nvSpPr>
        <p:spPr>
          <a:xfrm>
            <a:off x="2531153" y="438046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</p:spTree>
    <p:extLst>
      <p:ext uri="{BB962C8B-B14F-4D97-AF65-F5344CB8AC3E}">
        <p14:creationId xmlns:p14="http://schemas.microsoft.com/office/powerpoint/2010/main" val="42607163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Vstupní předpoklady </a:t>
            </a:r>
          </a:p>
          <a:p>
            <a:r>
              <a:rPr lang="cs-CZ" sz="5200" b="1" dirty="0"/>
              <a:t>a hlavní rizikové faktory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357513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631040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Šipka doprava 5">
            <a:extLst>
              <a:ext uri="{FF2B5EF4-FFF2-40B4-BE49-F238E27FC236}">
                <a16:creationId xmlns:a16="http://schemas.microsoft.com/office/drawing/2014/main" id="{BE8546B1-1A8C-43CB-862F-28081794A8C7}"/>
              </a:ext>
            </a:extLst>
          </p:cNvPr>
          <p:cNvSpPr/>
          <p:nvPr/>
        </p:nvSpPr>
        <p:spPr>
          <a:xfrm>
            <a:off x="8025277" y="51829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A0F57D30-5DF1-4B27-B6EB-5EF367CA8B03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C4854121-0D0E-48AA-A160-95AA43D7AE3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8A4E2FB1-6105-4AE3-BD3B-591AD204DCF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7A0DCB76-C6D6-4696-8D6D-E9EDBC2CB47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C8C25A9-53F7-48F9-94E9-880BBC7817D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sp>
        <p:nvSpPr>
          <p:cNvPr id="32" name="Rectangle 28">
            <a:extLst>
              <a:ext uri="{FF2B5EF4-FFF2-40B4-BE49-F238E27FC236}">
                <a16:creationId xmlns:a16="http://schemas.microsoft.com/office/drawing/2014/main" id="{5DF712C4-9EF2-4348-91A5-487E06FD138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93759" y="4693079"/>
            <a:ext cx="378505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potvrzuje optimistické scénáře, které předpokládají brždění epidemie posílené o rychlý efekt postupující vakcinace. Rostoucí počet nových nákaz v populaci z počátku července však naznačil potenciál k  zhoršování situace, jistě v důsledku šíření nové varianty viru. Proto jsou v modelech zpracovány i rizikové scénáře vývoje.</a:t>
            </a:r>
          </a:p>
        </p:txBody>
      </p:sp>
      <p:cxnSp>
        <p:nvCxnSpPr>
          <p:cNvPr id="35" name="Přímá spojnice 32">
            <a:extLst>
              <a:ext uri="{FF2B5EF4-FFF2-40B4-BE49-F238E27FC236}">
                <a16:creationId xmlns:a16="http://schemas.microsoft.com/office/drawing/2014/main" id="{6EA031DB-B78B-4ECE-AD1E-8972655120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3">
            <a:extLst>
              <a:ext uri="{FF2B5EF4-FFF2-40B4-BE49-F238E27FC236}">
                <a16:creationId xmlns:a16="http://schemas.microsoft.com/office/drawing/2014/main" id="{9356E7AA-84D9-4C84-BE21-56B34A4BD0B8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20">
            <a:extLst>
              <a:ext uri="{FF2B5EF4-FFF2-40B4-BE49-F238E27FC236}">
                <a16:creationId xmlns:a16="http://schemas.microsoft.com/office/drawing/2014/main" id="{1BF08FCB-75BF-424B-A50E-ED808339FDB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353BC6EB-C235-4573-A725-0948F12F9BC1}"/>
              </a:ext>
            </a:extLst>
          </p:cNvPr>
          <p:cNvCxnSpPr>
            <a:cxnSpLocks/>
          </p:cNvCxnSpPr>
          <p:nvPr/>
        </p:nvCxnSpPr>
        <p:spPr>
          <a:xfrm flipV="1">
            <a:off x="1031638" y="483914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E892B4C-52B0-4B6E-A5B1-82EF37DD4BC1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5FEE066D-6982-4881-855C-FDC2A336DCE2}"/>
              </a:ext>
            </a:extLst>
          </p:cNvPr>
          <p:cNvSpPr txBox="1"/>
          <p:nvPr/>
        </p:nvSpPr>
        <p:spPr>
          <a:xfrm>
            <a:off x="2429551" y="445303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</p:spTree>
    <p:extLst>
      <p:ext uri="{BB962C8B-B14F-4D97-AF65-F5344CB8AC3E}">
        <p14:creationId xmlns:p14="http://schemas.microsoft.com/office/powerpoint/2010/main" val="2428801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937620" y="1986055"/>
            <a:ext cx="109676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značně postupující očkování celé populace (dospělá populace je proočkovaná 1. dávkou z více než 65% a více než 63% má očkování ukončeno) je v populaci stále velké množství osob neočkovaných nebo očkovaných pouze jednou dávkou.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Tito lidé b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ou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chylní k nákaze převažující a nyní se šířící variantou viru Delta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FC02F70-D7F8-4545-8FCA-9B8539DE9C7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7620" y="3497350"/>
            <a:ext cx="109676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 populace mladšího a středního věku je stále nedostatečná (&lt; 50% s jednou dávkou) pro vytvoření kolektivní imunitní bariéry. Ještě více to platí pro mladé lidi pod 20 let a pro děti ve věku 12 – 15 let.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Virus tak může v těchto skupinách vytvářet významnou populační nálož a po návratu populace do běžného života v září / říjnu může opět významně růst počet nově nakažených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56B546-2D81-4765-AAC5-55B2DB1E6D6B}"/>
              </a:ext>
            </a:extLst>
          </p:cNvPr>
          <p:cNvSpPr txBox="1"/>
          <p:nvPr/>
        </p:nvSpPr>
        <p:spPr>
          <a:xfrm>
            <a:off x="114300" y="2324608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1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EAD78B70-AB33-448D-85A7-9C0CB36BF311}"/>
              </a:ext>
            </a:extLst>
          </p:cNvPr>
          <p:cNvSpPr txBox="1"/>
          <p:nvPr/>
        </p:nvSpPr>
        <p:spPr>
          <a:xfrm>
            <a:off x="114300" y="3808388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2.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64700" y="5008645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12CA35A-8650-4BED-8198-C3F1E99385DA}"/>
              </a:ext>
            </a:extLst>
          </p:cNvPr>
          <p:cNvSpPr txBox="1"/>
          <p:nvPr/>
        </p:nvSpPr>
        <p:spPr>
          <a:xfrm>
            <a:off x="414337" y="5580757"/>
            <a:ext cx="114217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Oba tyto faktory determinují potenciál epidemie k dalšímu populačnímu růstu. Rychlost očkování osob v produktivním věku a mladistvých je zásadní pro vytvoření účinné ochrany ve školních a pracovních kolektivech. </a:t>
            </a:r>
          </a:p>
        </p:txBody>
      </p:sp>
    </p:spTree>
    <p:extLst>
      <p:ext uri="{BB962C8B-B14F-4D97-AF65-F5344CB8AC3E}">
        <p14:creationId xmlns:p14="http://schemas.microsoft.com/office/powerpoint/2010/main" val="4269944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937620" y="2423302"/>
            <a:ext cx="1112103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je stále cca 440 000 neočkovaných osob ve věku 60+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ca 80% populace 60+ je již očkována alespoň jednou dávkou).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Stále jde o vysoký počet potenciálně zranitelných osob, které jsou z velké části primárně naivní vůči nákaze. Dle populačních statistik více než 60% těchto osob trpí jednou či více chronickými chorobami, které jejich zranitelnost zvyšují. Situaci může komplikovat i časový vývoj – tedy ztráta nebo částečné snížení imunitní ochrany u velmi seniorní a </a:t>
            </a:r>
            <a:r>
              <a:rPr lang="cs-CZ" sz="2000" b="1" dirty="0" err="1">
                <a:solidFill>
                  <a:srgbClr val="C00000"/>
                </a:solidFill>
                <a:latin typeface="Calibri" panose="020F0502020204030204"/>
              </a:rPr>
              <a:t>polymorbidní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 populace, která byla očkována v 1. fázi vakcinace (leden – únor 2021 -&gt; na podzim to bude již déle než 8 – 9 měsíců, síla ochrany může u nemocných a starých lidí klesat)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56B546-2D81-4765-AAC5-55B2DB1E6D6B}"/>
              </a:ext>
            </a:extLst>
          </p:cNvPr>
          <p:cNvSpPr txBox="1"/>
          <p:nvPr/>
        </p:nvSpPr>
        <p:spPr>
          <a:xfrm>
            <a:off x="133350" y="3330360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3.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64700" y="545000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397832" y="5944798"/>
            <a:ext cx="114217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Dokončení očkování seniorní populace a populace chronicky nemocných osob je zásadním faktorem, který bude determinovat zdravotní dopad šíření nákazy na podzim 2021. </a:t>
            </a:r>
          </a:p>
        </p:txBody>
      </p:sp>
    </p:spTree>
    <p:extLst>
      <p:ext uri="{BB962C8B-B14F-4D97-AF65-F5344CB8AC3E}">
        <p14:creationId xmlns:p14="http://schemas.microsoft.com/office/powerpoint/2010/main" val="41434488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397832" y="5944798"/>
            <a:ext cx="114217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Dokončení očkování seniorní populace a populace chronicky nemocných osob je zásadním faktorem, který bude determinovat zdravotní dopad šíření nákazy na podzim 2021.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DECBA86-9838-4FD9-8720-AF827356F3A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6924199"/>
              </p:ext>
            </p:extLst>
          </p:nvPr>
        </p:nvGraphicFramePr>
        <p:xfrm>
          <a:off x="1794891" y="1530666"/>
          <a:ext cx="3798951" cy="567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98951">
                  <a:extLst>
                    <a:ext uri="{9D8B030D-6E8A-4147-A177-3AD203B41FA5}">
                      <a16:colId xmlns:a16="http://schemas.microsoft.com/office/drawing/2014/main" val="358811976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ES" sz="1800" b="1" u="none" strike="noStrike" dirty="0">
                          <a:effectLst/>
                        </a:rPr>
                        <a:t>Osoby ve věku 60</a:t>
                      </a:r>
                      <a:r>
                        <a:rPr lang="cs-CZ" sz="1800" b="1" u="none" strike="noStrike" dirty="0">
                          <a:effectLst/>
                        </a:rPr>
                        <a:t> </a:t>
                      </a:r>
                      <a:r>
                        <a:rPr lang="es-ES" sz="1800" b="1" u="none" strike="noStrike" dirty="0">
                          <a:effectLst/>
                        </a:rPr>
                        <a:t>a více let</a:t>
                      </a:r>
                      <a:endParaRPr lang="es-E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0561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u="none" strike="noStrike" dirty="0">
                          <a:effectLst/>
                        </a:rPr>
                        <a:t>Stav k 4.</a:t>
                      </a:r>
                      <a:r>
                        <a:rPr lang="en-US" sz="1800" b="1" u="none" strike="noStrike" dirty="0">
                          <a:effectLst/>
                        </a:rPr>
                        <a:t>9</a:t>
                      </a:r>
                      <a:r>
                        <a:rPr lang="cs-CZ" sz="1800" b="1" u="none" strike="noStrike" dirty="0">
                          <a:effectLst/>
                        </a:rPr>
                        <a:t>.2021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54566"/>
                  </a:ext>
                </a:extLst>
              </a:tr>
            </a:tbl>
          </a:graphicData>
        </a:graphic>
      </p:graphicFrame>
      <p:sp>
        <p:nvSpPr>
          <p:cNvPr id="6" name="Šipka dolů 5"/>
          <p:cNvSpPr/>
          <p:nvPr>
            <p:custDataLst>
              <p:tags r:id="rId3"/>
            </p:custDataLst>
          </p:nvPr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3EB2DB0-0232-4E5A-986E-0959A4D87AC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17816640"/>
              </p:ext>
            </p:extLst>
          </p:nvPr>
        </p:nvGraphicFramePr>
        <p:xfrm>
          <a:off x="1794891" y="2317404"/>
          <a:ext cx="7454900" cy="3238500"/>
        </p:xfrm>
        <a:graphic>
          <a:graphicData uri="http://schemas.openxmlformats.org/drawingml/2006/table">
            <a:tbl>
              <a:tblPr/>
              <a:tblGrid>
                <a:gridCol w="1711584">
                  <a:extLst>
                    <a:ext uri="{9D8B030D-6E8A-4147-A177-3AD203B41FA5}">
                      <a16:colId xmlns:a16="http://schemas.microsoft.com/office/drawing/2014/main" val="2803364553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3577663255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2030619015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707872615"/>
                    </a:ext>
                  </a:extLst>
                </a:gridCol>
                <a:gridCol w="1435829">
                  <a:extLst>
                    <a:ext uri="{9D8B030D-6E8A-4147-A177-3AD203B41FA5}">
                      <a16:colId xmlns:a16="http://schemas.microsoft.com/office/drawing/2014/main" val="3893904984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pul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aní alespoň jednou dávko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čkovaní, prodělali onemocně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3864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 456 (8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33 (2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4 702 (14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4704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152 (83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81 (3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3 932 (1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72815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578 (82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01 (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4 623 (14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7666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222 (81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93 (3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4 200 (15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500937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066 (78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8 (3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 552 (18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5132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687 (80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20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 824 (16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49508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603 (80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81 (3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 666 (16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1659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1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523 (82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04 (3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 208 (14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58532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399 (81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51 (3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 138 (14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91466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285 (84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24 (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 496 (12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9125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408 (80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04 (3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2 291 (16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457507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809 (78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16 (3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996 (18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964871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576 (79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15 (3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 318 (17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8189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123 (76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98 (3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2 105 (19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29054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3 7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2 122 (81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895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28 770 (15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786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8204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004295" y="2034284"/>
            <a:ext cx="1096764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pracuje relativně vysoký počet zdravotnických pracovníků a pracovníků pobytových sociálních služeb bez vakcinace. Jde o profese vysoce rizikové pro šíření nákazy mezi potenciálně zranitelnými pacienty či klienty těchto služeb. Proočkovanost zdravotnických profesionálů je celkově cca 70% a dle dostupných dat odmítá očkování až 30% pracovníků sociálních služeb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b="1" dirty="0">
              <a:solidFill>
                <a:srgbClr val="C00000"/>
              </a:solidFill>
              <a:latin typeface="Calibri" panose="020F0502020204030204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</a:t>
            </a:r>
            <a:r>
              <a:rPr kumimoji="0" lang="cs-CZ" sz="2000" b="1" i="0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mt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/>
              </a:rPr>
              <a:t>o faktem souvisí riziko zásahu zranitelných skupin obyvatel a následného zvýšení vážné nemocnosti v důsledku šíření COVID-19 na podzim. Nově dominantní varianta Delta je přitom až 2x nakažlivější než původní varianta viru z jara 2020, riziko snadného šíření nákazy je významné. </a:t>
            </a:r>
            <a:endParaRPr kumimoji="0" lang="cs-CZ" sz="2000" b="1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56B546-2D81-4765-AAC5-55B2DB1E6D6B}"/>
              </a:ext>
            </a:extLst>
          </p:cNvPr>
          <p:cNvSpPr txBox="1"/>
          <p:nvPr/>
        </p:nvSpPr>
        <p:spPr>
          <a:xfrm>
            <a:off x="133350" y="3175163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4.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55175" y="4830436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474582" y="5515878"/>
            <a:ext cx="11049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Dosažení vyšší proočkovanosti zdravotníků a pracovníků sociálních služeb a včasné zavedení preventivních opatření v těchto službách je zásadním faktorem pro snížení rizika vážné nemocnosti. </a:t>
            </a:r>
          </a:p>
        </p:txBody>
      </p:sp>
    </p:spTree>
    <p:extLst>
      <p:ext uri="{BB962C8B-B14F-4D97-AF65-F5344CB8AC3E}">
        <p14:creationId xmlns:p14="http://schemas.microsoft.com/office/powerpoint/2010/main" val="17638423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880973" y="2409977"/>
            <a:ext cx="1096764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existuje značné množství obcí, zejména malých sídel v odlehlých částech více regionů, kde je proočkovanost populace podprůměrná, a to včetně populace seniorů. Potenciální problém představují zejména oblasti (ORP, okresy), kde je v těsné blízkosti takto kumulováno více sousedících obcí s nízkou proočkovaností populace. V těchto oblastech by při růstu epidemie na podzim mohlo docházet ke vzniku plošných ohnisek nákazy, včetně eskalace rizika zásahu zranitelných skupin. Z aktuálních dat se takto rizikově jeví zejména odlehlé oblasti moravských krajů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164700" y="1419797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56B546-2D81-4765-AAC5-55B2DB1E6D6B}"/>
              </a:ext>
            </a:extLst>
          </p:cNvPr>
          <p:cNvSpPr txBox="1"/>
          <p:nvPr/>
        </p:nvSpPr>
        <p:spPr>
          <a:xfrm>
            <a:off x="107869" y="3056307"/>
            <a:ext cx="733425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chemeClr val="bg1"/>
                </a:solidFill>
              </a:rPr>
              <a:t>5.</a:t>
            </a:r>
          </a:p>
        </p:txBody>
      </p:sp>
      <p:sp>
        <p:nvSpPr>
          <p:cNvPr id="12" name="Šipka dolů 5">
            <a:extLst>
              <a:ext uri="{FF2B5EF4-FFF2-40B4-BE49-F238E27FC236}">
                <a16:creationId xmlns:a16="http://schemas.microsoft.com/office/drawing/2014/main" id="{902FC3E1-0405-49C2-A95C-429D795A0911}"/>
              </a:ext>
            </a:extLst>
          </p:cNvPr>
          <p:cNvSpPr/>
          <p:nvPr/>
        </p:nvSpPr>
        <p:spPr>
          <a:xfrm>
            <a:off x="5155175" y="4830436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474582" y="5515878"/>
            <a:ext cx="110491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i="1" dirty="0"/>
              <a:t>Posílení očkování v oblastech s nízkou proočkovaností, včetně malých sídel, je dalším krokem, který významně minimalizuje potenciál plošného šíření nákazy na podzim. </a:t>
            </a:r>
          </a:p>
        </p:txBody>
      </p:sp>
    </p:spTree>
    <p:extLst>
      <p:ext uri="{BB962C8B-B14F-4D97-AF65-F5344CB8AC3E}">
        <p14:creationId xmlns:p14="http://schemas.microsoft.com/office/powerpoint/2010/main" val="1007667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70264575-64E9-4785-96A5-18BDB06B69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76001"/>
            <a:ext cx="11629002" cy="628199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0" y="0"/>
            <a:ext cx="7434501" cy="576000"/>
          </a:xfrm>
        </p:spPr>
        <p:txBody>
          <a:bodyPr/>
          <a:lstStyle/>
          <a:p>
            <a:r>
              <a:rPr lang="cs-CZ" dirty="0"/>
              <a:t>16 a více let: podíl osob očkovaných alespoň 1 dávko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810374" y="36659"/>
            <a:ext cx="153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400" b="1" dirty="0">
                <a:solidFill>
                  <a:schemeClr val="bg1"/>
                </a:solidFill>
              </a:rPr>
              <a:t>3. 9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40225D3-DC79-429E-9E3D-91309D7ADA40}"/>
              </a:ext>
            </a:extLst>
          </p:cNvPr>
          <p:cNvSpPr/>
          <p:nvPr/>
        </p:nvSpPr>
        <p:spPr>
          <a:xfrm>
            <a:off x="9350574" y="1045331"/>
            <a:ext cx="2188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/>
              <a:t>Podíl očkovaných osob (%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A2DAB93-D997-4EEA-ADF6-06F236A871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6242"/>
          <a:stretch/>
        </p:blipFill>
        <p:spPr>
          <a:xfrm>
            <a:off x="9822021" y="1322330"/>
            <a:ext cx="303054" cy="1287959"/>
          </a:xfrm>
          <a:prstGeom prst="rect">
            <a:avLst/>
          </a:prstGeom>
        </p:spPr>
      </p:pic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5681AE3D-D17A-4B8E-AA97-42CB7FC69463}"/>
              </a:ext>
            </a:extLst>
          </p:cNvPr>
          <p:cNvGraphicFramePr>
            <a:graphicFrameLocks noGrp="1"/>
          </p:cNvGraphicFramePr>
          <p:nvPr/>
        </p:nvGraphicFramePr>
        <p:xfrm>
          <a:off x="10125075" y="1320209"/>
          <a:ext cx="1200150" cy="1260000"/>
        </p:xfrm>
        <a:graphic>
          <a:graphicData uri="http://schemas.openxmlformats.org/drawingml/2006/table">
            <a:tbl>
              <a:tblPr/>
              <a:tblGrid>
                <a:gridCol w="1200150">
                  <a:extLst>
                    <a:ext uri="{9D8B030D-6E8A-4147-A177-3AD203B41FA5}">
                      <a16:colId xmlns:a16="http://schemas.microsoft.com/office/drawing/2014/main" val="20967721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52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5802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00 - 55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6035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00 - 59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0985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00 - 63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927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= 64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30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2498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3E1A8943-CA60-4004-B6DB-F48D4C9DFA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576001"/>
            <a:ext cx="11629002" cy="628199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0" y="0"/>
            <a:ext cx="7434501" cy="576000"/>
          </a:xfrm>
        </p:spPr>
        <p:txBody>
          <a:bodyPr/>
          <a:lstStyle/>
          <a:p>
            <a:r>
              <a:rPr lang="cs-CZ" dirty="0"/>
              <a:t>60 a více let: podíl osob očkovaných alespoň 1 dávkou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810374" y="36659"/>
            <a:ext cx="153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400" b="1" dirty="0">
                <a:solidFill>
                  <a:schemeClr val="bg1"/>
                </a:solidFill>
              </a:rPr>
              <a:t>3. 9. 202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460B3C2-5413-462F-940C-0A7AA6AF91D0}"/>
              </a:ext>
            </a:extLst>
          </p:cNvPr>
          <p:cNvSpPr/>
          <p:nvPr/>
        </p:nvSpPr>
        <p:spPr>
          <a:xfrm>
            <a:off x="9350574" y="1045331"/>
            <a:ext cx="21884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/>
              <a:t>Podíl očkovaných osob (%)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AE629004-F1F0-4526-9639-0EF090BE594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6242"/>
          <a:stretch/>
        </p:blipFill>
        <p:spPr>
          <a:xfrm>
            <a:off x="9822021" y="1322330"/>
            <a:ext cx="303054" cy="1287959"/>
          </a:xfrm>
          <a:prstGeom prst="rect">
            <a:avLst/>
          </a:prstGeom>
        </p:spPr>
      </p:pic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96DF4556-C51C-4878-849C-6165548303FF}"/>
              </a:ext>
            </a:extLst>
          </p:cNvPr>
          <p:cNvGraphicFramePr>
            <a:graphicFrameLocks noGrp="1"/>
          </p:cNvGraphicFramePr>
          <p:nvPr/>
        </p:nvGraphicFramePr>
        <p:xfrm>
          <a:off x="10125075" y="1320209"/>
          <a:ext cx="1200150" cy="1260000"/>
        </p:xfrm>
        <a:graphic>
          <a:graphicData uri="http://schemas.openxmlformats.org/drawingml/2006/table">
            <a:tbl>
              <a:tblPr/>
              <a:tblGrid>
                <a:gridCol w="1200150">
                  <a:extLst>
                    <a:ext uri="{9D8B030D-6E8A-4147-A177-3AD203B41FA5}">
                      <a16:colId xmlns:a16="http://schemas.microsoft.com/office/drawing/2014/main" val="2096772120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75802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00 - 74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6035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00 - 79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30985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00 - 84,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39277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= 85,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30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2310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49</TotalTime>
  <Words>2920</Words>
  <Application>Microsoft Office PowerPoint</Application>
  <PresentationFormat>Širokoúhlá obrazovka</PresentationFormat>
  <Paragraphs>259</Paragraphs>
  <Slides>20</Slides>
  <Notes>2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20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Motiv Office</vt:lpstr>
      <vt:lpstr>1_Motiv systému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16 a více let: podíl osob očkovaných alespoň 1 dávkou</vt:lpstr>
      <vt:lpstr>60 a více let: podíl osob očkovaných alespoň 1 dávkou</vt:lpstr>
      <vt:lpstr>Zpomalení šíření infekce v důsledku snížení počtu vnímavých jedinců: modelová projekce</vt:lpstr>
      <vt:lpstr>Datová a informační základna  pro management pandemie COVID-19</vt:lpstr>
      <vt:lpstr>Prezentace aplikace PowerPoint</vt:lpstr>
      <vt:lpstr>Prezentace aplikace PowerPoint</vt:lpstr>
      <vt:lpstr>Scénáře pro dlouhodobé simulace zahrnující efekt vakcinace </vt:lpstr>
      <vt:lpstr>Prezentace aplikace PowerPoint</vt:lpstr>
      <vt:lpstr>Datová a informační základna  pro management pandemie COVID-19</vt:lpstr>
      <vt:lpstr>Prezentace aplikace PowerPoint</vt:lpstr>
      <vt:lpstr>Predikovaný počet nových hospitalizačních případů</vt:lpstr>
      <vt:lpstr>Predikovaný počet aktuálně hospitalizovaných</vt:lpstr>
      <vt:lpstr>Predikovaný počet aktuálně hospitalizovaných na JI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148</cp:revision>
  <dcterms:created xsi:type="dcterms:W3CDTF">2020-03-16T10:06:11Z</dcterms:created>
  <dcterms:modified xsi:type="dcterms:W3CDTF">2021-09-07T02:02:55Z</dcterms:modified>
</cp:coreProperties>
</file>